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theme/themeOverride1.xml" ContentType="application/vnd.openxmlformats-officedocument.themeOverr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notesSlides/notesSlide7.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8.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 id="2147483688" r:id="rId5"/>
  </p:sldMasterIdLst>
  <p:notesMasterIdLst>
    <p:notesMasterId r:id="rId41"/>
  </p:notesMasterIdLst>
  <p:sldIdLst>
    <p:sldId id="2147478408" r:id="rId6"/>
    <p:sldId id="257" r:id="rId7"/>
    <p:sldId id="354" r:id="rId8"/>
    <p:sldId id="2147478411" r:id="rId9"/>
    <p:sldId id="2147478398" r:id="rId10"/>
    <p:sldId id="2147478406" r:id="rId11"/>
    <p:sldId id="2147478401" r:id="rId12"/>
    <p:sldId id="2147478402" r:id="rId13"/>
    <p:sldId id="2147478410" r:id="rId14"/>
    <p:sldId id="313" r:id="rId15"/>
    <p:sldId id="2147478412" r:id="rId16"/>
    <p:sldId id="2147478403" r:id="rId17"/>
    <p:sldId id="2147478404" r:id="rId18"/>
    <p:sldId id="2147478407" r:id="rId19"/>
    <p:sldId id="2147478395" r:id="rId20"/>
    <p:sldId id="2147478415" r:id="rId21"/>
    <p:sldId id="2147478390" r:id="rId22"/>
    <p:sldId id="325" r:id="rId23"/>
    <p:sldId id="2147478399" r:id="rId24"/>
    <p:sldId id="353" r:id="rId25"/>
    <p:sldId id="345" r:id="rId26"/>
    <p:sldId id="2147478405" r:id="rId27"/>
    <p:sldId id="2147472122" r:id="rId28"/>
    <p:sldId id="2147478417" r:id="rId29"/>
    <p:sldId id="2147478396" r:id="rId30"/>
    <p:sldId id="2147478414" r:id="rId31"/>
    <p:sldId id="2147478416" r:id="rId32"/>
    <p:sldId id="2147478413" r:id="rId33"/>
    <p:sldId id="338" r:id="rId34"/>
    <p:sldId id="307" r:id="rId35"/>
    <p:sldId id="2147478383" r:id="rId36"/>
    <p:sldId id="2147478384" r:id="rId37"/>
    <p:sldId id="326" r:id="rId38"/>
    <p:sldId id="2147478409" r:id="rId39"/>
    <p:sldId id="2147478418" r:id="rId40"/>
  </p:sldIdLst>
  <p:sldSz cx="12192000" cy="6858000"/>
  <p:notesSz cx="6858000" cy="9144000"/>
  <p:defaultText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27A1A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FB3C10D-9727-4012-95F8-6945BC1EA7FA}" v="183" dt="2024-08-20T07:58:31.406"/>
    <p1510:client id="{3B6A0757-DC56-445A-9D64-731D0D66FF2E}" v="506" dt="2024-08-20T10:35:02.518"/>
    <p1510:client id="{47FC3581-0969-4651-9336-14C6FC99DF0C}" v="2" dt="2024-08-20T09:34:03.880"/>
    <p1510:client id="{96DC89DB-0AA9-4E9E-9188-E2CBE63CFBC5}" v="529" dt="2024-08-20T10:21:39.595"/>
    <p1510:client id="{CFD11730-9FFC-4BF8-99E9-599309C9152F}" v="116" dt="2024-08-20T10:06:34.252"/>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slideViewPr>
    <p:cSldViewPr snapToGrid="0">
      <p:cViewPr>
        <p:scale>
          <a:sx n="1" d="2"/>
          <a:sy n="1" d="2"/>
        </p:scale>
        <p:origin x="0" y="0"/>
      </p:cViewPr>
      <p:guideLst/>
    </p:cSldViewPr>
  </p:slide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presProps" Target="presProps.xml"/><Relationship Id="rId47" Type="http://schemas.microsoft.com/office/2015/10/relationships/revisionInfo" Target="revisionInfo.xml"/><Relationship Id="rId7" Type="http://schemas.openxmlformats.org/officeDocument/2006/relationships/slide" Target="slides/slide2.xml"/><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tableStyles" Target="tableStyle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viewProps" Target="viewProps.xml"/><Relationship Id="rId8" Type="http://schemas.openxmlformats.org/officeDocument/2006/relationships/slide" Target="slides/slide3.xml"/><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microsoft.com/office/2016/11/relationships/changesInfo" Target="changesInfos/changesInfo1.xml"/><Relationship Id="rId20" Type="http://schemas.openxmlformats.org/officeDocument/2006/relationships/slide" Target="slides/slide15.xml"/><Relationship Id="rId41" Type="http://schemas.openxmlformats.org/officeDocument/2006/relationships/notesMaster" Target="notesMasters/notesMaster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Ulrika Sten" userId="39366dae-4102-4621-9e24-85c95c43eb4c" providerId="ADAL" clId="{47FC3581-0969-4651-9336-14C6FC99DF0C}"/>
    <pc:docChg chg="modSld">
      <pc:chgData name="Ulrika Sten" userId="39366dae-4102-4621-9e24-85c95c43eb4c" providerId="ADAL" clId="{47FC3581-0969-4651-9336-14C6FC99DF0C}" dt="2024-08-20T09:34:03.880" v="20" actId="20577"/>
      <pc:docMkLst>
        <pc:docMk/>
      </pc:docMkLst>
      <pc:sldChg chg="modSp mod">
        <pc:chgData name="Ulrika Sten" userId="39366dae-4102-4621-9e24-85c95c43eb4c" providerId="ADAL" clId="{47FC3581-0969-4651-9336-14C6FC99DF0C}" dt="2024-08-15T08:09:42.916" v="18" actId="20577"/>
        <pc:sldMkLst>
          <pc:docMk/>
          <pc:sldMk cId="1462300153" sldId="257"/>
        </pc:sldMkLst>
        <pc:spChg chg="mod">
          <ac:chgData name="Ulrika Sten" userId="39366dae-4102-4621-9e24-85c95c43eb4c" providerId="ADAL" clId="{47FC3581-0969-4651-9336-14C6FC99DF0C}" dt="2024-08-15T08:09:42.916" v="18" actId="20577"/>
          <ac:spMkLst>
            <pc:docMk/>
            <pc:sldMk cId="1462300153" sldId="257"/>
            <ac:spMk id="3" creationId="{4D22915F-2708-08F7-23F0-9779168270B2}"/>
          </ac:spMkLst>
        </pc:spChg>
      </pc:sldChg>
      <pc:sldChg chg="modSp mod">
        <pc:chgData name="Ulrika Sten" userId="39366dae-4102-4621-9e24-85c95c43eb4c" providerId="ADAL" clId="{47FC3581-0969-4651-9336-14C6FC99DF0C}" dt="2024-08-15T08:01:43.773" v="3" actId="20577"/>
        <pc:sldMkLst>
          <pc:docMk/>
          <pc:sldMk cId="1871422701" sldId="2147478390"/>
        </pc:sldMkLst>
        <pc:spChg chg="mod">
          <ac:chgData name="Ulrika Sten" userId="39366dae-4102-4621-9e24-85c95c43eb4c" providerId="ADAL" clId="{47FC3581-0969-4651-9336-14C6FC99DF0C}" dt="2024-08-15T08:01:43.773" v="3" actId="20577"/>
          <ac:spMkLst>
            <pc:docMk/>
            <pc:sldMk cId="1871422701" sldId="2147478390"/>
            <ac:spMk id="5" creationId="{BA349ABD-36EE-ABF4-25D0-1BCF00F11178}"/>
          </ac:spMkLst>
        </pc:spChg>
      </pc:sldChg>
      <pc:sldChg chg="modSp mod">
        <pc:chgData name="Ulrika Sten" userId="39366dae-4102-4621-9e24-85c95c43eb4c" providerId="ADAL" clId="{47FC3581-0969-4651-9336-14C6FC99DF0C}" dt="2024-08-20T09:34:03.880" v="20" actId="20577"/>
        <pc:sldMkLst>
          <pc:docMk/>
          <pc:sldMk cId="2310578694" sldId="2147478407"/>
        </pc:sldMkLst>
        <pc:spChg chg="mod">
          <ac:chgData name="Ulrika Sten" userId="39366dae-4102-4621-9e24-85c95c43eb4c" providerId="ADAL" clId="{47FC3581-0969-4651-9336-14C6FC99DF0C}" dt="2024-08-20T09:34:03.880" v="20" actId="20577"/>
          <ac:spMkLst>
            <pc:docMk/>
            <pc:sldMk cId="2310578694" sldId="2147478407"/>
            <ac:spMk id="2" creationId="{F0451400-5CE2-7A52-00E2-4A6C20487420}"/>
          </ac:spMkLst>
        </pc:spChg>
      </pc:sldChg>
    </pc:docChg>
  </pc:docChgLst>
  <pc:docChgLst>
    <pc:chgData name="Lars Persson" userId="7f1cec89-9700-434c-88ef-862d3050ba2c" providerId="ADAL" clId="{5E6C4A98-30E6-47A6-BB4A-3FBA0EA0A8AC}"/>
    <pc:docChg chg="undo custSel addSld modSld">
      <pc:chgData name="Lars Persson" userId="7f1cec89-9700-434c-88ef-862d3050ba2c" providerId="ADAL" clId="{5E6C4A98-30E6-47A6-BB4A-3FBA0EA0A8AC}" dt="2024-07-11T07:17:48.073" v="1342" actId="20577"/>
      <pc:docMkLst>
        <pc:docMk/>
      </pc:docMkLst>
      <pc:sldChg chg="modSp mod">
        <pc:chgData name="Lars Persson" userId="7f1cec89-9700-434c-88ef-862d3050ba2c" providerId="ADAL" clId="{5E6C4A98-30E6-47A6-BB4A-3FBA0EA0A8AC}" dt="2024-07-11T07:16:10.951" v="1339" actId="13926"/>
        <pc:sldMkLst>
          <pc:docMk/>
          <pc:sldMk cId="273946975" sldId="313"/>
        </pc:sldMkLst>
        <pc:spChg chg="mod">
          <ac:chgData name="Lars Persson" userId="7f1cec89-9700-434c-88ef-862d3050ba2c" providerId="ADAL" clId="{5E6C4A98-30E6-47A6-BB4A-3FBA0EA0A8AC}" dt="2024-07-11T05:11:37.407" v="20" actId="20577"/>
          <ac:spMkLst>
            <pc:docMk/>
            <pc:sldMk cId="273946975" sldId="313"/>
            <ac:spMk id="2" creationId="{2C983736-610C-4C02-8A2C-7B6D34331D01}"/>
          </ac:spMkLst>
        </pc:spChg>
        <pc:spChg chg="mod">
          <ac:chgData name="Lars Persson" userId="7f1cec89-9700-434c-88ef-862d3050ba2c" providerId="ADAL" clId="{5E6C4A98-30E6-47A6-BB4A-3FBA0EA0A8AC}" dt="2024-07-11T07:16:10.951" v="1339" actId="13926"/>
          <ac:spMkLst>
            <pc:docMk/>
            <pc:sldMk cId="273946975" sldId="313"/>
            <ac:spMk id="116" creationId="{099E233B-FCCB-3119-DC31-222DE786112F}"/>
          </ac:spMkLst>
        </pc:spChg>
      </pc:sldChg>
      <pc:sldChg chg="modSp mod">
        <pc:chgData name="Lars Persson" userId="7f1cec89-9700-434c-88ef-862d3050ba2c" providerId="ADAL" clId="{5E6C4A98-30E6-47A6-BB4A-3FBA0EA0A8AC}" dt="2024-07-11T06:30:01.842" v="987" actId="13926"/>
        <pc:sldMkLst>
          <pc:docMk/>
          <pc:sldMk cId="1144761144" sldId="338"/>
        </pc:sldMkLst>
        <pc:spChg chg="mod">
          <ac:chgData name="Lars Persson" userId="7f1cec89-9700-434c-88ef-862d3050ba2c" providerId="ADAL" clId="{5E6C4A98-30E6-47A6-BB4A-3FBA0EA0A8AC}" dt="2024-07-11T06:30:01.842" v="987" actId="13926"/>
          <ac:spMkLst>
            <pc:docMk/>
            <pc:sldMk cId="1144761144" sldId="338"/>
            <ac:spMk id="2" creationId="{D9EE208F-1FB3-3E60-67C3-1E928FDF069F}"/>
          </ac:spMkLst>
        </pc:spChg>
      </pc:sldChg>
      <pc:sldChg chg="modSp mod">
        <pc:chgData name="Lars Persson" userId="7f1cec89-9700-434c-88ef-862d3050ba2c" providerId="ADAL" clId="{5E6C4A98-30E6-47A6-BB4A-3FBA0EA0A8AC}" dt="2024-07-11T05:47:48.426" v="284" actId="20577"/>
        <pc:sldMkLst>
          <pc:docMk/>
          <pc:sldMk cId="2437633820" sldId="339"/>
        </pc:sldMkLst>
        <pc:spChg chg="mod">
          <ac:chgData name="Lars Persson" userId="7f1cec89-9700-434c-88ef-862d3050ba2c" providerId="ADAL" clId="{5E6C4A98-30E6-47A6-BB4A-3FBA0EA0A8AC}" dt="2024-07-11T05:47:48.426" v="284" actId="20577"/>
          <ac:spMkLst>
            <pc:docMk/>
            <pc:sldMk cId="2437633820" sldId="339"/>
            <ac:spMk id="3" creationId="{E3A94597-1045-2D98-4FF6-9875B807EBB3}"/>
          </ac:spMkLst>
        </pc:spChg>
      </pc:sldChg>
      <pc:sldChg chg="modSp mod">
        <pc:chgData name="Lars Persson" userId="7f1cec89-9700-434c-88ef-862d3050ba2c" providerId="ADAL" clId="{5E6C4A98-30E6-47A6-BB4A-3FBA0EA0A8AC}" dt="2024-07-11T07:13:26.056" v="1329" actId="14100"/>
        <pc:sldMkLst>
          <pc:docMk/>
          <pc:sldMk cId="2864544690" sldId="2147472122"/>
        </pc:sldMkLst>
        <pc:spChg chg="mod">
          <ac:chgData name="Lars Persson" userId="7f1cec89-9700-434c-88ef-862d3050ba2c" providerId="ADAL" clId="{5E6C4A98-30E6-47A6-BB4A-3FBA0EA0A8AC}" dt="2024-07-11T07:13:26.056" v="1329" actId="14100"/>
          <ac:spMkLst>
            <pc:docMk/>
            <pc:sldMk cId="2864544690" sldId="2147472122"/>
            <ac:spMk id="3" creationId="{1BAF0F2D-DBA1-5465-650C-ADF457C37C08}"/>
          </ac:spMkLst>
        </pc:spChg>
      </pc:sldChg>
      <pc:sldChg chg="modSp mod">
        <pc:chgData name="Lars Persson" userId="7f1cec89-9700-434c-88ef-862d3050ba2c" providerId="ADAL" clId="{5E6C4A98-30E6-47A6-BB4A-3FBA0EA0A8AC}" dt="2024-07-11T06:30:57.661" v="999" actId="113"/>
        <pc:sldMkLst>
          <pc:docMk/>
          <pc:sldMk cId="1871422701" sldId="2147478390"/>
        </pc:sldMkLst>
        <pc:spChg chg="mod">
          <ac:chgData name="Lars Persson" userId="7f1cec89-9700-434c-88ef-862d3050ba2c" providerId="ADAL" clId="{5E6C4A98-30E6-47A6-BB4A-3FBA0EA0A8AC}" dt="2024-07-11T06:30:22.395" v="994" actId="20577"/>
          <ac:spMkLst>
            <pc:docMk/>
            <pc:sldMk cId="1871422701" sldId="2147478390"/>
            <ac:spMk id="4" creationId="{8166AFFF-6DDB-9411-490C-5F2327B09045}"/>
          </ac:spMkLst>
        </pc:spChg>
        <pc:spChg chg="mod">
          <ac:chgData name="Lars Persson" userId="7f1cec89-9700-434c-88ef-862d3050ba2c" providerId="ADAL" clId="{5E6C4A98-30E6-47A6-BB4A-3FBA0EA0A8AC}" dt="2024-07-11T06:30:57.661" v="999" actId="113"/>
          <ac:spMkLst>
            <pc:docMk/>
            <pc:sldMk cId="1871422701" sldId="2147478390"/>
            <ac:spMk id="5" creationId="{BA349ABD-36EE-ABF4-25D0-1BCF00F11178}"/>
          </ac:spMkLst>
        </pc:spChg>
      </pc:sldChg>
      <pc:sldChg chg="modSp mod">
        <pc:chgData name="Lars Persson" userId="7f1cec89-9700-434c-88ef-862d3050ba2c" providerId="ADAL" clId="{5E6C4A98-30E6-47A6-BB4A-3FBA0EA0A8AC}" dt="2024-07-11T05:14:09.905" v="40" actId="6549"/>
        <pc:sldMkLst>
          <pc:docMk/>
          <pc:sldMk cId="1650419112" sldId="2147478399"/>
        </pc:sldMkLst>
        <pc:spChg chg="mod">
          <ac:chgData name="Lars Persson" userId="7f1cec89-9700-434c-88ef-862d3050ba2c" providerId="ADAL" clId="{5E6C4A98-30E6-47A6-BB4A-3FBA0EA0A8AC}" dt="2024-07-11T05:14:09.905" v="40" actId="6549"/>
          <ac:spMkLst>
            <pc:docMk/>
            <pc:sldMk cId="1650419112" sldId="2147478399"/>
            <ac:spMk id="2" creationId="{3F1E5667-8C19-70DB-C706-A359BFBBD979}"/>
          </ac:spMkLst>
        </pc:spChg>
      </pc:sldChg>
      <pc:sldChg chg="modSp mod">
        <pc:chgData name="Lars Persson" userId="7f1cec89-9700-434c-88ef-862d3050ba2c" providerId="ADAL" clId="{5E6C4A98-30E6-47A6-BB4A-3FBA0EA0A8AC}" dt="2024-07-11T07:17:48.073" v="1342" actId="20577"/>
        <pc:sldMkLst>
          <pc:docMk/>
          <pc:sldMk cId="1361013547" sldId="2147478402"/>
        </pc:sldMkLst>
        <pc:spChg chg="mod">
          <ac:chgData name="Lars Persson" userId="7f1cec89-9700-434c-88ef-862d3050ba2c" providerId="ADAL" clId="{5E6C4A98-30E6-47A6-BB4A-3FBA0EA0A8AC}" dt="2024-07-11T07:15:28.196" v="1338" actId="20577"/>
          <ac:spMkLst>
            <pc:docMk/>
            <pc:sldMk cId="1361013547" sldId="2147478402"/>
            <ac:spMk id="2" creationId="{E1459134-FA11-D217-16A5-1FE912CA33B3}"/>
          </ac:spMkLst>
        </pc:spChg>
        <pc:spChg chg="mod">
          <ac:chgData name="Lars Persson" userId="7f1cec89-9700-434c-88ef-862d3050ba2c" providerId="ADAL" clId="{5E6C4A98-30E6-47A6-BB4A-3FBA0EA0A8AC}" dt="2024-07-11T07:17:48.073" v="1342" actId="20577"/>
          <ac:spMkLst>
            <pc:docMk/>
            <pc:sldMk cId="1361013547" sldId="2147478402"/>
            <ac:spMk id="7" creationId="{3433BB02-61BF-73CD-3502-0F429930C9F5}"/>
          </ac:spMkLst>
        </pc:spChg>
      </pc:sldChg>
      <pc:sldChg chg="modSp mod">
        <pc:chgData name="Lars Persson" userId="7f1cec89-9700-434c-88ef-862d3050ba2c" providerId="ADAL" clId="{5E6C4A98-30E6-47A6-BB4A-3FBA0EA0A8AC}" dt="2024-07-11T06:38:42.903" v="1264" actId="20577"/>
        <pc:sldMkLst>
          <pc:docMk/>
          <pc:sldMk cId="414210311" sldId="2147478405"/>
        </pc:sldMkLst>
        <pc:spChg chg="mod">
          <ac:chgData name="Lars Persson" userId="7f1cec89-9700-434c-88ef-862d3050ba2c" providerId="ADAL" clId="{5E6C4A98-30E6-47A6-BB4A-3FBA0EA0A8AC}" dt="2024-07-11T06:38:42.903" v="1264" actId="20577"/>
          <ac:spMkLst>
            <pc:docMk/>
            <pc:sldMk cId="414210311" sldId="2147478405"/>
            <ac:spMk id="2" creationId="{12BA775D-702B-6003-4350-35CA0DD3F6F8}"/>
          </ac:spMkLst>
        </pc:spChg>
      </pc:sldChg>
      <pc:sldChg chg="modSp mod">
        <pc:chgData name="Lars Persson" userId="7f1cec89-9700-434c-88ef-862d3050ba2c" providerId="ADAL" clId="{5E6C4A98-30E6-47A6-BB4A-3FBA0EA0A8AC}" dt="2024-07-11T06:11:26.779" v="854" actId="1076"/>
        <pc:sldMkLst>
          <pc:docMk/>
          <pc:sldMk cId="2807281666" sldId="2147478406"/>
        </pc:sldMkLst>
        <pc:spChg chg="mod">
          <ac:chgData name="Lars Persson" userId="7f1cec89-9700-434c-88ef-862d3050ba2c" providerId="ADAL" clId="{5E6C4A98-30E6-47A6-BB4A-3FBA0EA0A8AC}" dt="2024-07-11T06:11:26.779" v="854" actId="1076"/>
          <ac:spMkLst>
            <pc:docMk/>
            <pc:sldMk cId="2807281666" sldId="2147478406"/>
            <ac:spMk id="5" creationId="{07C84C5A-969C-651C-40C1-CC701195FB76}"/>
          </ac:spMkLst>
        </pc:spChg>
      </pc:sldChg>
      <pc:sldChg chg="addSp delSp modSp new mod setBg chgLayout">
        <pc:chgData name="Lars Persson" userId="7f1cec89-9700-434c-88ef-862d3050ba2c" providerId="ADAL" clId="{5E6C4A98-30E6-47A6-BB4A-3FBA0EA0A8AC}" dt="2024-07-11T06:36:34.475" v="1223" actId="20577"/>
        <pc:sldMkLst>
          <pc:docMk/>
          <pc:sldMk cId="2310578694" sldId="2147478407"/>
        </pc:sldMkLst>
        <pc:spChg chg="mod ord">
          <ac:chgData name="Lars Persson" userId="7f1cec89-9700-434c-88ef-862d3050ba2c" providerId="ADAL" clId="{5E6C4A98-30E6-47A6-BB4A-3FBA0EA0A8AC}" dt="2024-07-11T06:36:34.475" v="1223" actId="20577"/>
          <ac:spMkLst>
            <pc:docMk/>
            <pc:sldMk cId="2310578694" sldId="2147478407"/>
            <ac:spMk id="2" creationId="{F0451400-5CE2-7A52-00E2-4A6C20487420}"/>
          </ac:spMkLst>
        </pc:spChg>
        <pc:spChg chg="mod ord">
          <ac:chgData name="Lars Persson" userId="7f1cec89-9700-434c-88ef-862d3050ba2c" providerId="ADAL" clId="{5E6C4A98-30E6-47A6-BB4A-3FBA0EA0A8AC}" dt="2024-07-11T06:13:15.564" v="856" actId="700"/>
          <ac:spMkLst>
            <pc:docMk/>
            <pc:sldMk cId="2310578694" sldId="2147478407"/>
            <ac:spMk id="3" creationId="{1A6F5C5E-57D8-1699-B182-472AB1578E88}"/>
          </ac:spMkLst>
        </pc:spChg>
        <pc:spChg chg="add mod">
          <ac:chgData name="Lars Persson" userId="7f1cec89-9700-434c-88ef-862d3050ba2c" providerId="ADAL" clId="{5E6C4A98-30E6-47A6-BB4A-3FBA0EA0A8AC}" dt="2024-07-11T05:52:17.034" v="388" actId="403"/>
          <ac:spMkLst>
            <pc:docMk/>
            <pc:sldMk cId="2310578694" sldId="2147478407"/>
            <ac:spMk id="4" creationId="{509644F2-67F0-502C-ED0F-D3BA4B5505D9}"/>
          </ac:spMkLst>
        </pc:spChg>
        <pc:spChg chg="add del mod">
          <ac:chgData name="Lars Persson" userId="7f1cec89-9700-434c-88ef-862d3050ba2c" providerId="ADAL" clId="{5E6C4A98-30E6-47A6-BB4A-3FBA0EA0A8AC}" dt="2024-07-11T06:10:59.671" v="852" actId="478"/>
          <ac:spMkLst>
            <pc:docMk/>
            <pc:sldMk cId="2310578694" sldId="2147478407"/>
            <ac:spMk id="5" creationId="{E6A07160-EA7D-FC21-B100-BA5730FA627A}"/>
          </ac:spMkLst>
        </pc:spChg>
      </pc:sldChg>
    </pc:docChg>
  </pc:docChgLst>
  <pc:docChgLst>
    <pc:chgData name="Oskar Cederlöf" userId="3afbec19-b708-44ad-8f4b-6fae763fdba1" providerId="ADAL" clId="{838641EC-2133-4D26-906B-D97E36E646AF}"/>
    <pc:docChg chg="undo custSel addSld delSld modSld sldOrd">
      <pc:chgData name="Oskar Cederlöf" userId="3afbec19-b708-44ad-8f4b-6fae763fdba1" providerId="ADAL" clId="{838641EC-2133-4D26-906B-D97E36E646AF}" dt="2024-07-11T12:58:05.353" v="10355" actId="6549"/>
      <pc:docMkLst>
        <pc:docMk/>
      </pc:docMkLst>
      <pc:sldChg chg="modSp del mod">
        <pc:chgData name="Oskar Cederlöf" userId="3afbec19-b708-44ad-8f4b-6fae763fdba1" providerId="ADAL" clId="{838641EC-2133-4D26-906B-D97E36E646AF}" dt="2024-07-11T09:40:50.946" v="8444" actId="47"/>
        <pc:sldMkLst>
          <pc:docMk/>
          <pc:sldMk cId="2382974285" sldId="256"/>
        </pc:sldMkLst>
        <pc:spChg chg="mod">
          <ac:chgData name="Oskar Cederlöf" userId="3afbec19-b708-44ad-8f4b-6fae763fdba1" providerId="ADAL" clId="{838641EC-2133-4D26-906B-D97E36E646AF}" dt="2024-07-10T06:06:51.573" v="1724" actId="20577"/>
          <ac:spMkLst>
            <pc:docMk/>
            <pc:sldMk cId="2382974285" sldId="256"/>
            <ac:spMk id="5" creationId="{555F004E-9917-3D53-2AB6-B27DF5960C91}"/>
          </ac:spMkLst>
        </pc:spChg>
      </pc:sldChg>
      <pc:sldChg chg="modSp new mod">
        <pc:chgData name="Oskar Cederlöf" userId="3afbec19-b708-44ad-8f4b-6fae763fdba1" providerId="ADAL" clId="{838641EC-2133-4D26-906B-D97E36E646AF}" dt="2024-07-11T08:36:29.552" v="7720" actId="20577"/>
        <pc:sldMkLst>
          <pc:docMk/>
          <pc:sldMk cId="1462300153" sldId="257"/>
        </pc:sldMkLst>
        <pc:spChg chg="mod">
          <ac:chgData name="Oskar Cederlöf" userId="3afbec19-b708-44ad-8f4b-6fae763fdba1" providerId="ADAL" clId="{838641EC-2133-4D26-906B-D97E36E646AF}" dt="2024-07-11T08:36:29.552" v="7720" actId="20577"/>
          <ac:spMkLst>
            <pc:docMk/>
            <pc:sldMk cId="1462300153" sldId="257"/>
            <ac:spMk id="2" creationId="{0DF6C76E-AC05-C796-091A-6A7A8C17B801}"/>
          </ac:spMkLst>
        </pc:spChg>
        <pc:spChg chg="mod">
          <ac:chgData name="Oskar Cederlöf" userId="3afbec19-b708-44ad-8f4b-6fae763fdba1" providerId="ADAL" clId="{838641EC-2133-4D26-906B-D97E36E646AF}" dt="2024-07-11T07:58:38.556" v="7714" actId="20577"/>
          <ac:spMkLst>
            <pc:docMk/>
            <pc:sldMk cId="1462300153" sldId="257"/>
            <ac:spMk id="3" creationId="{4D22915F-2708-08F7-23F0-9779168270B2}"/>
          </ac:spMkLst>
        </pc:spChg>
      </pc:sldChg>
      <pc:sldChg chg="ord">
        <pc:chgData name="Oskar Cederlöf" userId="3afbec19-b708-44ad-8f4b-6fae763fdba1" providerId="ADAL" clId="{838641EC-2133-4D26-906B-D97E36E646AF}" dt="2024-07-11T12:48:10.856" v="9963"/>
        <pc:sldMkLst>
          <pc:docMk/>
          <pc:sldMk cId="2220633746" sldId="307"/>
        </pc:sldMkLst>
      </pc:sldChg>
      <pc:sldChg chg="delSp modSp del mod ord modClrScheme chgLayout">
        <pc:chgData name="Oskar Cederlöf" userId="3afbec19-b708-44ad-8f4b-6fae763fdba1" providerId="ADAL" clId="{838641EC-2133-4D26-906B-D97E36E646AF}" dt="2024-07-11T11:58:55.631" v="8863" actId="2696"/>
        <pc:sldMkLst>
          <pc:docMk/>
          <pc:sldMk cId="2577948745" sldId="307"/>
        </pc:sldMkLst>
        <pc:spChg chg="del">
          <ac:chgData name="Oskar Cederlöf" userId="3afbec19-b708-44ad-8f4b-6fae763fdba1" providerId="ADAL" clId="{838641EC-2133-4D26-906B-D97E36E646AF}" dt="2024-07-10T06:25:50.140" v="1744" actId="478"/>
          <ac:spMkLst>
            <pc:docMk/>
            <pc:sldMk cId="2577948745" sldId="307"/>
            <ac:spMk id="2" creationId="{3075E1EB-C5E1-BBF3-7625-901793E6CBBE}"/>
          </ac:spMkLst>
        </pc:spChg>
        <pc:spChg chg="mod ord">
          <ac:chgData name="Oskar Cederlöf" userId="3afbec19-b708-44ad-8f4b-6fae763fdba1" providerId="ADAL" clId="{838641EC-2133-4D26-906B-D97E36E646AF}" dt="2024-07-11T08:41:43.800" v="7800" actId="700"/>
          <ac:spMkLst>
            <pc:docMk/>
            <pc:sldMk cId="2577948745" sldId="307"/>
            <ac:spMk id="3" creationId="{E3A94597-1045-2D98-4FF6-9875B807EBB3}"/>
          </ac:spMkLst>
        </pc:spChg>
        <pc:spChg chg="mod ord">
          <ac:chgData name="Oskar Cederlöf" userId="3afbec19-b708-44ad-8f4b-6fae763fdba1" providerId="ADAL" clId="{838641EC-2133-4D26-906B-D97E36E646AF}" dt="2024-07-11T08:41:58.246" v="7801" actId="1076"/>
          <ac:spMkLst>
            <pc:docMk/>
            <pc:sldMk cId="2577948745" sldId="307"/>
            <ac:spMk id="4" creationId="{ECDF387A-ACAF-D835-E4E0-45C1A8E1AECF}"/>
          </ac:spMkLst>
        </pc:spChg>
        <pc:spChg chg="mod">
          <ac:chgData name="Oskar Cederlöf" userId="3afbec19-b708-44ad-8f4b-6fae763fdba1" providerId="ADAL" clId="{838641EC-2133-4D26-906B-D97E36E646AF}" dt="2024-07-11T08:42:00.960" v="7802" actId="1076"/>
          <ac:spMkLst>
            <pc:docMk/>
            <pc:sldMk cId="2577948745" sldId="307"/>
            <ac:spMk id="14" creationId="{6C297C6D-D407-B064-4570-D499BF07E737}"/>
          </ac:spMkLst>
        </pc:spChg>
      </pc:sldChg>
      <pc:sldChg chg="modSp mod ord">
        <pc:chgData name="Oskar Cederlöf" userId="3afbec19-b708-44ad-8f4b-6fae763fdba1" providerId="ADAL" clId="{838641EC-2133-4D26-906B-D97E36E646AF}" dt="2024-07-11T12:54:00.986" v="10314"/>
        <pc:sldMkLst>
          <pc:docMk/>
          <pc:sldMk cId="273946975" sldId="313"/>
        </pc:sldMkLst>
        <pc:spChg chg="mod">
          <ac:chgData name="Oskar Cederlöf" userId="3afbec19-b708-44ad-8f4b-6fae763fdba1" providerId="ADAL" clId="{838641EC-2133-4D26-906B-D97E36E646AF}" dt="2024-07-11T08:54:41.289" v="8031" actId="20577"/>
          <ac:spMkLst>
            <pc:docMk/>
            <pc:sldMk cId="273946975" sldId="313"/>
            <ac:spMk id="116" creationId="{099E233B-FCCB-3119-DC31-222DE786112F}"/>
          </ac:spMkLst>
        </pc:spChg>
      </pc:sldChg>
      <pc:sldChg chg="modSp mod ord">
        <pc:chgData name="Oskar Cederlöf" userId="3afbec19-b708-44ad-8f4b-6fae763fdba1" providerId="ADAL" clId="{838641EC-2133-4D26-906B-D97E36E646AF}" dt="2024-07-11T09:21:43.306" v="8443"/>
        <pc:sldMkLst>
          <pc:docMk/>
          <pc:sldMk cId="1317688283" sldId="325"/>
        </pc:sldMkLst>
        <pc:spChg chg="mod">
          <ac:chgData name="Oskar Cederlöf" userId="3afbec19-b708-44ad-8f4b-6fae763fdba1" providerId="ADAL" clId="{838641EC-2133-4D26-906B-D97E36E646AF}" dt="2024-07-11T09:17:02.226" v="8400" actId="1076"/>
          <ac:spMkLst>
            <pc:docMk/>
            <pc:sldMk cId="1317688283" sldId="325"/>
            <ac:spMk id="3" creationId="{4396DB4C-FFE8-31F2-37D9-9C37F347D8C0}"/>
          </ac:spMkLst>
        </pc:spChg>
      </pc:sldChg>
      <pc:sldChg chg="addSp delSp del mod">
        <pc:chgData name="Oskar Cederlöf" userId="3afbec19-b708-44ad-8f4b-6fae763fdba1" providerId="ADAL" clId="{838641EC-2133-4D26-906B-D97E36E646AF}" dt="2024-07-11T11:58:55.631" v="8863" actId="2696"/>
        <pc:sldMkLst>
          <pc:docMk/>
          <pc:sldMk cId="485941700" sldId="326"/>
        </pc:sldMkLst>
        <pc:picChg chg="add del">
          <ac:chgData name="Oskar Cederlöf" userId="3afbec19-b708-44ad-8f4b-6fae763fdba1" providerId="ADAL" clId="{838641EC-2133-4D26-906B-D97E36E646AF}" dt="2024-07-10T07:32:42.719" v="3927" actId="22"/>
          <ac:picMkLst>
            <pc:docMk/>
            <pc:sldMk cId="485941700" sldId="326"/>
            <ac:picMk id="4" creationId="{72F08F48-BBB6-ACC6-0D2F-4BBE4D45A7DE}"/>
          </ac:picMkLst>
        </pc:picChg>
      </pc:sldChg>
      <pc:sldChg chg="del">
        <pc:chgData name="Oskar Cederlöf" userId="3afbec19-b708-44ad-8f4b-6fae763fdba1" providerId="ADAL" clId="{838641EC-2133-4D26-906B-D97E36E646AF}" dt="2024-07-11T12:47:49.496" v="9961" actId="2696"/>
        <pc:sldMkLst>
          <pc:docMk/>
          <pc:sldMk cId="742517996" sldId="326"/>
        </pc:sldMkLst>
      </pc:sldChg>
      <pc:sldChg chg="del">
        <pc:chgData name="Oskar Cederlöf" userId="3afbec19-b708-44ad-8f4b-6fae763fdba1" providerId="ADAL" clId="{838641EC-2133-4D26-906B-D97E36E646AF}" dt="2024-07-11T12:26:56.334" v="9667" actId="2696"/>
        <pc:sldMkLst>
          <pc:docMk/>
          <pc:sldMk cId="752584608" sldId="326"/>
        </pc:sldMkLst>
      </pc:sldChg>
      <pc:sldChg chg="delSp modSp mod ord">
        <pc:chgData name="Oskar Cederlöf" userId="3afbec19-b708-44ad-8f4b-6fae763fdba1" providerId="ADAL" clId="{838641EC-2133-4D26-906B-D97E36E646AF}" dt="2024-07-11T12:48:59.572" v="10000"/>
        <pc:sldMkLst>
          <pc:docMk/>
          <pc:sldMk cId="1144761144" sldId="338"/>
        </pc:sldMkLst>
        <pc:spChg chg="mod">
          <ac:chgData name="Oskar Cederlöf" userId="3afbec19-b708-44ad-8f4b-6fae763fdba1" providerId="ADAL" clId="{838641EC-2133-4D26-906B-D97E36E646AF}" dt="2024-07-11T09:12:38.496" v="8308" actId="13926"/>
          <ac:spMkLst>
            <pc:docMk/>
            <pc:sldMk cId="1144761144" sldId="338"/>
            <ac:spMk id="2" creationId="{D9EE208F-1FB3-3E60-67C3-1E928FDF069F}"/>
          </ac:spMkLst>
        </pc:spChg>
        <pc:spChg chg="mod">
          <ac:chgData name="Oskar Cederlöf" userId="3afbec19-b708-44ad-8f4b-6fae763fdba1" providerId="ADAL" clId="{838641EC-2133-4D26-906B-D97E36E646AF}" dt="2024-07-11T12:48:52.043" v="9998" actId="113"/>
          <ac:spMkLst>
            <pc:docMk/>
            <pc:sldMk cId="1144761144" sldId="338"/>
            <ac:spMk id="7" creationId="{D005AFD3-77F1-4820-45B2-C214E894EC54}"/>
          </ac:spMkLst>
        </pc:spChg>
        <pc:spChg chg="del mod">
          <ac:chgData name="Oskar Cederlöf" userId="3afbec19-b708-44ad-8f4b-6fae763fdba1" providerId="ADAL" clId="{838641EC-2133-4D26-906B-D97E36E646AF}" dt="2024-07-11T12:48:27.704" v="9966"/>
          <ac:spMkLst>
            <pc:docMk/>
            <pc:sldMk cId="1144761144" sldId="338"/>
            <ac:spMk id="8" creationId="{5651F83B-18A7-655F-87BC-B9D8A4A14218}"/>
          </ac:spMkLst>
        </pc:spChg>
      </pc:sldChg>
      <pc:sldChg chg="delSp modSp add del mod">
        <pc:chgData name="Oskar Cederlöf" userId="3afbec19-b708-44ad-8f4b-6fae763fdba1" providerId="ADAL" clId="{838641EC-2133-4D26-906B-D97E36E646AF}" dt="2024-07-11T07:55:32.100" v="7546" actId="2696"/>
        <pc:sldMkLst>
          <pc:docMk/>
          <pc:sldMk cId="2437633820" sldId="339"/>
        </pc:sldMkLst>
        <pc:spChg chg="mod">
          <ac:chgData name="Oskar Cederlöf" userId="3afbec19-b708-44ad-8f4b-6fae763fdba1" providerId="ADAL" clId="{838641EC-2133-4D26-906B-D97E36E646AF}" dt="2024-07-11T07:54:46.845" v="7545" actId="20577"/>
          <ac:spMkLst>
            <pc:docMk/>
            <pc:sldMk cId="2437633820" sldId="339"/>
            <ac:spMk id="3" creationId="{E3A94597-1045-2D98-4FF6-9875B807EBB3}"/>
          </ac:spMkLst>
        </pc:spChg>
        <pc:spChg chg="mod">
          <ac:chgData name="Oskar Cederlöf" userId="3afbec19-b708-44ad-8f4b-6fae763fdba1" providerId="ADAL" clId="{838641EC-2133-4D26-906B-D97E36E646AF}" dt="2024-07-10T06:38:46.064" v="2165" actId="20577"/>
          <ac:spMkLst>
            <pc:docMk/>
            <pc:sldMk cId="2437633820" sldId="339"/>
            <ac:spMk id="4" creationId="{ECDF387A-ACAF-D835-E4E0-45C1A8E1AECF}"/>
          </ac:spMkLst>
        </pc:spChg>
        <pc:spChg chg="del">
          <ac:chgData name="Oskar Cederlöf" userId="3afbec19-b708-44ad-8f4b-6fae763fdba1" providerId="ADAL" clId="{838641EC-2133-4D26-906B-D97E36E646AF}" dt="2024-07-10T06:35:18.735" v="1793" actId="478"/>
          <ac:spMkLst>
            <pc:docMk/>
            <pc:sldMk cId="2437633820" sldId="339"/>
            <ac:spMk id="14" creationId="{6C297C6D-D407-B064-4570-D499BF07E737}"/>
          </ac:spMkLst>
        </pc:spChg>
      </pc:sldChg>
      <pc:sldChg chg="modSp mod modClrScheme chgLayout">
        <pc:chgData name="Oskar Cederlöf" userId="3afbec19-b708-44ad-8f4b-6fae763fdba1" providerId="ADAL" clId="{838641EC-2133-4D26-906B-D97E36E646AF}" dt="2024-07-11T07:56:14.950" v="7548" actId="27636"/>
        <pc:sldMkLst>
          <pc:docMk/>
          <pc:sldMk cId="3623948385" sldId="339"/>
        </pc:sldMkLst>
        <pc:spChg chg="mod ord">
          <ac:chgData name="Oskar Cederlöf" userId="3afbec19-b708-44ad-8f4b-6fae763fdba1" providerId="ADAL" clId="{838641EC-2133-4D26-906B-D97E36E646AF}" dt="2024-07-11T07:56:14.950" v="7548" actId="27636"/>
          <ac:spMkLst>
            <pc:docMk/>
            <pc:sldMk cId="3623948385" sldId="339"/>
            <ac:spMk id="3" creationId="{E3A94597-1045-2D98-4FF6-9875B807EBB3}"/>
          </ac:spMkLst>
        </pc:spChg>
        <pc:spChg chg="mod ord">
          <ac:chgData name="Oskar Cederlöf" userId="3afbec19-b708-44ad-8f4b-6fae763fdba1" providerId="ADAL" clId="{838641EC-2133-4D26-906B-D97E36E646AF}" dt="2024-07-11T07:56:14.908" v="7547" actId="700"/>
          <ac:spMkLst>
            <pc:docMk/>
            <pc:sldMk cId="3623948385" sldId="339"/>
            <ac:spMk id="4" creationId="{ECDF387A-ACAF-D835-E4E0-45C1A8E1AECF}"/>
          </ac:spMkLst>
        </pc:spChg>
      </pc:sldChg>
      <pc:sldChg chg="addSp delSp modSp mod">
        <pc:chgData name="Oskar Cederlöf" userId="3afbec19-b708-44ad-8f4b-6fae763fdba1" providerId="ADAL" clId="{838641EC-2133-4D26-906B-D97E36E646AF}" dt="2024-07-11T12:51:20.010" v="10159" actId="21"/>
        <pc:sldMkLst>
          <pc:docMk/>
          <pc:sldMk cId="3500986548" sldId="345"/>
        </pc:sldMkLst>
        <pc:spChg chg="mod">
          <ac:chgData name="Oskar Cederlöf" userId="3afbec19-b708-44ad-8f4b-6fae763fdba1" providerId="ADAL" clId="{838641EC-2133-4D26-906B-D97E36E646AF}" dt="2024-07-11T12:00:27.822" v="8871" actId="6549"/>
          <ac:spMkLst>
            <pc:docMk/>
            <pc:sldMk cId="3500986548" sldId="345"/>
            <ac:spMk id="2" creationId="{7BCF7F5A-A860-44AE-6426-FB8C0FF3CD31}"/>
          </ac:spMkLst>
        </pc:spChg>
        <pc:spChg chg="add del mod">
          <ac:chgData name="Oskar Cederlöf" userId="3afbec19-b708-44ad-8f4b-6fae763fdba1" providerId="ADAL" clId="{838641EC-2133-4D26-906B-D97E36E646AF}" dt="2024-07-11T12:51:20.010" v="10159" actId="21"/>
          <ac:spMkLst>
            <pc:docMk/>
            <pc:sldMk cId="3500986548" sldId="345"/>
            <ac:spMk id="3" creationId="{4FA039AB-E17D-8581-F3EC-543256FBBAE0}"/>
          </ac:spMkLst>
        </pc:spChg>
      </pc:sldChg>
      <pc:sldChg chg="addSp delSp modSp mod ord">
        <pc:chgData name="Oskar Cederlöf" userId="3afbec19-b708-44ad-8f4b-6fae763fdba1" providerId="ADAL" clId="{838641EC-2133-4D26-906B-D97E36E646AF}" dt="2024-07-11T12:51:25.223" v="10161" actId="1076"/>
        <pc:sldMkLst>
          <pc:docMk/>
          <pc:sldMk cId="917362646" sldId="353"/>
        </pc:sldMkLst>
        <pc:spChg chg="mod">
          <ac:chgData name="Oskar Cederlöf" userId="3afbec19-b708-44ad-8f4b-6fae763fdba1" providerId="ADAL" clId="{838641EC-2133-4D26-906B-D97E36E646AF}" dt="2024-07-11T07:38:47.775" v="6447" actId="20577"/>
          <ac:spMkLst>
            <pc:docMk/>
            <pc:sldMk cId="917362646" sldId="353"/>
            <ac:spMk id="4" creationId="{E1A3F83D-7D11-3BB6-5138-3A0A000442F1}"/>
          </ac:spMkLst>
        </pc:spChg>
        <pc:spChg chg="add mod">
          <ac:chgData name="Oskar Cederlöf" userId="3afbec19-b708-44ad-8f4b-6fae763fdba1" providerId="ADAL" clId="{838641EC-2133-4D26-906B-D97E36E646AF}" dt="2024-07-11T12:51:25.223" v="10161" actId="1076"/>
          <ac:spMkLst>
            <pc:docMk/>
            <pc:sldMk cId="917362646" sldId="353"/>
            <ac:spMk id="5" creationId="{4FA039AB-E17D-8581-F3EC-543256FBBAE0}"/>
          </ac:spMkLst>
        </pc:spChg>
        <pc:spChg chg="del">
          <ac:chgData name="Oskar Cederlöf" userId="3afbec19-b708-44ad-8f4b-6fae763fdba1" providerId="ADAL" clId="{838641EC-2133-4D26-906B-D97E36E646AF}" dt="2024-07-11T07:39:16.016" v="6460" actId="478"/>
          <ac:spMkLst>
            <pc:docMk/>
            <pc:sldMk cId="917362646" sldId="353"/>
            <ac:spMk id="17" creationId="{01053BEB-C4E2-4515-9C7C-22223B579619}"/>
          </ac:spMkLst>
        </pc:spChg>
        <pc:spChg chg="mod">
          <ac:chgData name="Oskar Cederlöf" userId="3afbec19-b708-44ad-8f4b-6fae763fdba1" providerId="ADAL" clId="{838641EC-2133-4D26-906B-D97E36E646AF}" dt="2024-07-11T07:45:23.081" v="6853" actId="6549"/>
          <ac:spMkLst>
            <pc:docMk/>
            <pc:sldMk cId="917362646" sldId="353"/>
            <ac:spMk id="26" creationId="{52897466-72D3-76F8-64F3-23A5E45EBEC3}"/>
          </ac:spMkLst>
        </pc:spChg>
        <pc:spChg chg="mod">
          <ac:chgData name="Oskar Cederlöf" userId="3afbec19-b708-44ad-8f4b-6fae763fdba1" providerId="ADAL" clId="{838641EC-2133-4D26-906B-D97E36E646AF}" dt="2024-07-11T07:45:25.783" v="6854" actId="6549"/>
          <ac:spMkLst>
            <pc:docMk/>
            <pc:sldMk cId="917362646" sldId="353"/>
            <ac:spMk id="27" creationId="{DC4DA157-D888-D859-59C7-24722DD93EA1}"/>
          </ac:spMkLst>
        </pc:spChg>
        <pc:spChg chg="mod">
          <ac:chgData name="Oskar Cederlöf" userId="3afbec19-b708-44ad-8f4b-6fae763fdba1" providerId="ADAL" clId="{838641EC-2133-4D26-906B-D97E36E646AF}" dt="2024-07-11T07:45:29.834" v="6857" actId="20577"/>
          <ac:spMkLst>
            <pc:docMk/>
            <pc:sldMk cId="917362646" sldId="353"/>
            <ac:spMk id="28" creationId="{307BC3A7-07C2-8510-8132-C210D976CEDB}"/>
          </ac:spMkLst>
        </pc:spChg>
        <pc:spChg chg="add mod">
          <ac:chgData name="Oskar Cederlöf" userId="3afbec19-b708-44ad-8f4b-6fae763fdba1" providerId="ADAL" clId="{838641EC-2133-4D26-906B-D97E36E646AF}" dt="2024-07-11T07:42:58.730" v="6638" actId="1076"/>
          <ac:spMkLst>
            <pc:docMk/>
            <pc:sldMk cId="917362646" sldId="353"/>
            <ac:spMk id="29" creationId="{FFB5F7C6-0394-8C32-C493-8B25DA8AB4E8}"/>
          </ac:spMkLst>
        </pc:spChg>
        <pc:spChg chg="mod">
          <ac:chgData name="Oskar Cederlöf" userId="3afbec19-b708-44ad-8f4b-6fae763fdba1" providerId="ADAL" clId="{838641EC-2133-4D26-906B-D97E36E646AF}" dt="2024-07-11T07:44:18.217" v="6752" actId="20577"/>
          <ac:spMkLst>
            <pc:docMk/>
            <pc:sldMk cId="917362646" sldId="353"/>
            <ac:spMk id="30" creationId="{09B8AA76-4164-40F7-40B3-1B0F2B917C6C}"/>
          </ac:spMkLst>
        </pc:spChg>
        <pc:spChg chg="mod">
          <ac:chgData name="Oskar Cederlöf" userId="3afbec19-b708-44ad-8f4b-6fae763fdba1" providerId="ADAL" clId="{838641EC-2133-4D26-906B-D97E36E646AF}" dt="2024-07-11T07:44:34.097" v="6792" actId="20577"/>
          <ac:spMkLst>
            <pc:docMk/>
            <pc:sldMk cId="917362646" sldId="353"/>
            <ac:spMk id="31" creationId="{702A7251-A6FA-A723-21A1-1FA1889FDC4A}"/>
          </ac:spMkLst>
        </pc:spChg>
        <pc:spChg chg="mod">
          <ac:chgData name="Oskar Cederlöf" userId="3afbec19-b708-44ad-8f4b-6fae763fdba1" providerId="ADAL" clId="{838641EC-2133-4D26-906B-D97E36E646AF}" dt="2024-07-11T07:45:40.857" v="6872" actId="6549"/>
          <ac:spMkLst>
            <pc:docMk/>
            <pc:sldMk cId="917362646" sldId="353"/>
            <ac:spMk id="32" creationId="{335C7949-BC4A-84A7-2699-349E89A8D35A}"/>
          </ac:spMkLst>
        </pc:spChg>
        <pc:spChg chg="mod">
          <ac:chgData name="Oskar Cederlöf" userId="3afbec19-b708-44ad-8f4b-6fae763fdba1" providerId="ADAL" clId="{838641EC-2133-4D26-906B-D97E36E646AF}" dt="2024-07-11T07:43:23.976" v="6665" actId="20577"/>
          <ac:spMkLst>
            <pc:docMk/>
            <pc:sldMk cId="917362646" sldId="353"/>
            <ac:spMk id="33" creationId="{CA3C9E23-42FF-C38A-E98E-A6128F8F501E}"/>
          </ac:spMkLst>
        </pc:spChg>
        <pc:spChg chg="mod">
          <ac:chgData name="Oskar Cederlöf" userId="3afbec19-b708-44ad-8f4b-6fae763fdba1" providerId="ADAL" clId="{838641EC-2133-4D26-906B-D97E36E646AF}" dt="2024-07-11T07:45:14.610" v="6852" actId="6549"/>
          <ac:spMkLst>
            <pc:docMk/>
            <pc:sldMk cId="917362646" sldId="353"/>
            <ac:spMk id="34" creationId="{A7F79F8F-C401-D12B-CF5A-A92865C21EC7}"/>
          </ac:spMkLst>
        </pc:spChg>
        <pc:spChg chg="mod">
          <ac:chgData name="Oskar Cederlöf" userId="3afbec19-b708-44ad-8f4b-6fae763fdba1" providerId="ADAL" clId="{838641EC-2133-4D26-906B-D97E36E646AF}" dt="2024-07-11T07:39:49.306" v="6467" actId="1076"/>
          <ac:spMkLst>
            <pc:docMk/>
            <pc:sldMk cId="917362646" sldId="353"/>
            <ac:spMk id="35" creationId="{2D236CD9-E200-07E5-2230-FE3B362D04D3}"/>
          </ac:spMkLst>
        </pc:spChg>
        <pc:spChg chg="mod">
          <ac:chgData name="Oskar Cederlöf" userId="3afbec19-b708-44ad-8f4b-6fae763fdba1" providerId="ADAL" clId="{838641EC-2133-4D26-906B-D97E36E646AF}" dt="2024-07-11T07:46:47.843" v="6974" actId="20577"/>
          <ac:spMkLst>
            <pc:docMk/>
            <pc:sldMk cId="917362646" sldId="353"/>
            <ac:spMk id="36" creationId="{A918DE12-F6DB-E4D8-7838-304741513514}"/>
          </ac:spMkLst>
        </pc:spChg>
        <pc:spChg chg="add mod">
          <ac:chgData name="Oskar Cederlöf" userId="3afbec19-b708-44ad-8f4b-6fae763fdba1" providerId="ADAL" clId="{838641EC-2133-4D26-906B-D97E36E646AF}" dt="2024-07-11T07:42:58.730" v="6638" actId="1076"/>
          <ac:spMkLst>
            <pc:docMk/>
            <pc:sldMk cId="917362646" sldId="353"/>
            <ac:spMk id="37" creationId="{BD12120E-FB11-3845-3F62-79ACF6FDEDA9}"/>
          </ac:spMkLst>
        </pc:spChg>
        <pc:spChg chg="add mod">
          <ac:chgData name="Oskar Cederlöf" userId="3afbec19-b708-44ad-8f4b-6fae763fdba1" providerId="ADAL" clId="{838641EC-2133-4D26-906B-D97E36E646AF}" dt="2024-07-11T07:50:57.606" v="7235" actId="115"/>
          <ac:spMkLst>
            <pc:docMk/>
            <pc:sldMk cId="917362646" sldId="353"/>
            <ac:spMk id="42" creationId="{EC5019DC-EDBF-120B-C174-B95B0CAC0E90}"/>
          </ac:spMkLst>
        </pc:spChg>
        <pc:spChg chg="mod">
          <ac:chgData name="Oskar Cederlöf" userId="3afbec19-b708-44ad-8f4b-6fae763fdba1" providerId="ADAL" clId="{838641EC-2133-4D26-906B-D97E36E646AF}" dt="2024-07-11T07:42:20.659" v="6612" actId="6549"/>
          <ac:spMkLst>
            <pc:docMk/>
            <pc:sldMk cId="917362646" sldId="353"/>
            <ac:spMk id="49" creationId="{E33EAB7A-4370-7A21-B8B3-630137317F61}"/>
          </ac:spMkLst>
        </pc:spChg>
        <pc:spChg chg="mod">
          <ac:chgData name="Oskar Cederlöf" userId="3afbec19-b708-44ad-8f4b-6fae763fdba1" providerId="ADAL" clId="{838641EC-2133-4D26-906B-D97E36E646AF}" dt="2024-07-11T07:42:22.387" v="6613" actId="6549"/>
          <ac:spMkLst>
            <pc:docMk/>
            <pc:sldMk cId="917362646" sldId="353"/>
            <ac:spMk id="50" creationId="{A519F733-EAA6-8119-466D-87DC3B30C021}"/>
          </ac:spMkLst>
        </pc:spChg>
        <pc:spChg chg="mod">
          <ac:chgData name="Oskar Cederlöf" userId="3afbec19-b708-44ad-8f4b-6fae763fdba1" providerId="ADAL" clId="{838641EC-2133-4D26-906B-D97E36E646AF}" dt="2024-07-11T07:42:24.377" v="6614" actId="6549"/>
          <ac:spMkLst>
            <pc:docMk/>
            <pc:sldMk cId="917362646" sldId="353"/>
            <ac:spMk id="51" creationId="{2358A4BC-3574-3FE7-DF4A-C614402305EF}"/>
          </ac:spMkLst>
        </pc:spChg>
        <pc:spChg chg="mod">
          <ac:chgData name="Oskar Cederlöf" userId="3afbec19-b708-44ad-8f4b-6fae763fdba1" providerId="ADAL" clId="{838641EC-2133-4D26-906B-D97E36E646AF}" dt="2024-07-11T07:42:26.767" v="6615" actId="6549"/>
          <ac:spMkLst>
            <pc:docMk/>
            <pc:sldMk cId="917362646" sldId="353"/>
            <ac:spMk id="52" creationId="{C092BA72-B655-1918-CD34-715250606621}"/>
          </ac:spMkLst>
        </pc:spChg>
        <pc:spChg chg="mod">
          <ac:chgData name="Oskar Cederlöf" userId="3afbec19-b708-44ad-8f4b-6fae763fdba1" providerId="ADAL" clId="{838641EC-2133-4D26-906B-D97E36E646AF}" dt="2024-07-11T07:42:28.320" v="6616" actId="6549"/>
          <ac:spMkLst>
            <pc:docMk/>
            <pc:sldMk cId="917362646" sldId="353"/>
            <ac:spMk id="54" creationId="{B220EB02-4A8C-63C3-B4B6-F891A34031BA}"/>
          </ac:spMkLst>
        </pc:spChg>
        <pc:spChg chg="mod">
          <ac:chgData name="Oskar Cederlöf" userId="3afbec19-b708-44ad-8f4b-6fae763fdba1" providerId="ADAL" clId="{838641EC-2133-4D26-906B-D97E36E646AF}" dt="2024-07-11T07:42:30.738" v="6617" actId="6549"/>
          <ac:spMkLst>
            <pc:docMk/>
            <pc:sldMk cId="917362646" sldId="353"/>
            <ac:spMk id="55" creationId="{9DC459E8-9CF0-2DF7-9EC2-EAC426350A3E}"/>
          </ac:spMkLst>
        </pc:spChg>
        <pc:spChg chg="mod">
          <ac:chgData name="Oskar Cederlöf" userId="3afbec19-b708-44ad-8f4b-6fae763fdba1" providerId="ADAL" clId="{838641EC-2133-4D26-906B-D97E36E646AF}" dt="2024-07-11T07:42:46.672" v="6636" actId="6549"/>
          <ac:spMkLst>
            <pc:docMk/>
            <pc:sldMk cId="917362646" sldId="353"/>
            <ac:spMk id="56" creationId="{833EEA29-AE2D-82DA-C65D-76A1E4509AD4}"/>
          </ac:spMkLst>
        </pc:spChg>
        <pc:spChg chg="mod">
          <ac:chgData name="Oskar Cederlöf" userId="3afbec19-b708-44ad-8f4b-6fae763fdba1" providerId="ADAL" clId="{838641EC-2133-4D26-906B-D97E36E646AF}" dt="2024-07-11T07:42:42.816" v="6628" actId="6549"/>
          <ac:spMkLst>
            <pc:docMk/>
            <pc:sldMk cId="917362646" sldId="353"/>
            <ac:spMk id="57" creationId="{B3A0D312-E444-478F-F5B2-56768A2C88C4}"/>
          </ac:spMkLst>
        </pc:spChg>
        <pc:spChg chg="del">
          <ac:chgData name="Oskar Cederlöf" userId="3afbec19-b708-44ad-8f4b-6fae763fdba1" providerId="ADAL" clId="{838641EC-2133-4D26-906B-D97E36E646AF}" dt="2024-07-11T07:39:14.018" v="6459" actId="478"/>
          <ac:spMkLst>
            <pc:docMk/>
            <pc:sldMk cId="917362646" sldId="353"/>
            <ac:spMk id="60" creationId="{B23660BA-8648-9F41-C9B5-40DF44A3AC03}"/>
          </ac:spMkLst>
        </pc:spChg>
        <pc:spChg chg="mod">
          <ac:chgData name="Oskar Cederlöf" userId="3afbec19-b708-44ad-8f4b-6fae763fdba1" providerId="ADAL" clId="{838641EC-2133-4D26-906B-D97E36E646AF}" dt="2024-07-11T07:39:00.136" v="6457" actId="20577"/>
          <ac:spMkLst>
            <pc:docMk/>
            <pc:sldMk cId="917362646" sldId="353"/>
            <ac:spMk id="61" creationId="{30DFE9BC-D8FD-0BAF-3EC3-30FA2A137C18}"/>
          </ac:spMkLst>
        </pc:spChg>
        <pc:spChg chg="mod">
          <ac:chgData name="Oskar Cederlöf" userId="3afbec19-b708-44ad-8f4b-6fae763fdba1" providerId="ADAL" clId="{838641EC-2133-4D26-906B-D97E36E646AF}" dt="2024-07-11T07:39:49.306" v="6467" actId="1076"/>
          <ac:spMkLst>
            <pc:docMk/>
            <pc:sldMk cId="917362646" sldId="353"/>
            <ac:spMk id="62" creationId="{0EA9CFBD-8761-3C9C-5847-297B0E8EE9FB}"/>
          </ac:spMkLst>
        </pc:spChg>
        <pc:spChg chg="mod">
          <ac:chgData name="Oskar Cederlöf" userId="3afbec19-b708-44ad-8f4b-6fae763fdba1" providerId="ADAL" clId="{838641EC-2133-4D26-906B-D97E36E646AF}" dt="2024-07-11T07:39:49.306" v="6467" actId="1076"/>
          <ac:spMkLst>
            <pc:docMk/>
            <pc:sldMk cId="917362646" sldId="353"/>
            <ac:spMk id="63" creationId="{8AF9042F-6D12-1583-159F-1765C33C8C5E}"/>
          </ac:spMkLst>
        </pc:spChg>
        <pc:picChg chg="del">
          <ac:chgData name="Oskar Cederlöf" userId="3afbec19-b708-44ad-8f4b-6fae763fdba1" providerId="ADAL" clId="{838641EC-2133-4D26-906B-D97E36E646AF}" dt="2024-07-11T07:39:10.482" v="6458" actId="478"/>
          <ac:picMkLst>
            <pc:docMk/>
            <pc:sldMk cId="917362646" sldId="353"/>
            <ac:picMk id="5" creationId="{A4F0B8E6-0F4F-1916-EC60-A160739BFFEA}"/>
          </ac:picMkLst>
        </pc:picChg>
        <pc:picChg chg="mod">
          <ac:chgData name="Oskar Cederlöf" userId="3afbec19-b708-44ad-8f4b-6fae763fdba1" providerId="ADAL" clId="{838641EC-2133-4D26-906B-D97E36E646AF}" dt="2024-07-11T07:39:49.306" v="6467" actId="1076"/>
          <ac:picMkLst>
            <pc:docMk/>
            <pc:sldMk cId="917362646" sldId="353"/>
            <ac:picMk id="8" creationId="{0DB71324-2B65-C2D8-9529-C8D36D909963}"/>
          </ac:picMkLst>
        </pc:picChg>
        <pc:picChg chg="mod">
          <ac:chgData name="Oskar Cederlöf" userId="3afbec19-b708-44ad-8f4b-6fae763fdba1" providerId="ADAL" clId="{838641EC-2133-4D26-906B-D97E36E646AF}" dt="2024-07-11T07:39:49.306" v="6467" actId="1076"/>
          <ac:picMkLst>
            <pc:docMk/>
            <pc:sldMk cId="917362646" sldId="353"/>
            <ac:picMk id="13" creationId="{242722A4-81EE-2E32-E985-950426CBA576}"/>
          </ac:picMkLst>
        </pc:picChg>
        <pc:cxnChg chg="mod">
          <ac:chgData name="Oskar Cederlöf" userId="3afbec19-b708-44ad-8f4b-6fae763fdba1" providerId="ADAL" clId="{838641EC-2133-4D26-906B-D97E36E646AF}" dt="2024-07-11T07:39:49.306" v="6467" actId="1076"/>
          <ac:cxnSpMkLst>
            <pc:docMk/>
            <pc:sldMk cId="917362646" sldId="353"/>
            <ac:cxnSpMk id="44" creationId="{153F87D2-6032-8B56-DC1F-2894968A91C9}"/>
          </ac:cxnSpMkLst>
        </pc:cxnChg>
      </pc:sldChg>
      <pc:sldChg chg="modSp mod">
        <pc:chgData name="Oskar Cederlöf" userId="3afbec19-b708-44ad-8f4b-6fae763fdba1" providerId="ADAL" clId="{838641EC-2133-4D26-906B-D97E36E646AF}" dt="2024-07-11T08:37:33.385" v="7797" actId="20577"/>
        <pc:sldMkLst>
          <pc:docMk/>
          <pc:sldMk cId="779530098" sldId="354"/>
        </pc:sldMkLst>
        <pc:spChg chg="mod">
          <ac:chgData name="Oskar Cederlöf" userId="3afbec19-b708-44ad-8f4b-6fae763fdba1" providerId="ADAL" clId="{838641EC-2133-4D26-906B-D97E36E646AF}" dt="2024-07-11T07:23:27.168" v="6183" actId="20577"/>
          <ac:spMkLst>
            <pc:docMk/>
            <pc:sldMk cId="779530098" sldId="354"/>
            <ac:spMk id="2" creationId="{4A5EE5C2-39EE-177B-946A-7D7638BB3347}"/>
          </ac:spMkLst>
        </pc:spChg>
        <pc:spChg chg="mod">
          <ac:chgData name="Oskar Cederlöf" userId="3afbec19-b708-44ad-8f4b-6fae763fdba1" providerId="ADAL" clId="{838641EC-2133-4D26-906B-D97E36E646AF}" dt="2024-07-11T08:37:33.385" v="7797" actId="20577"/>
          <ac:spMkLst>
            <pc:docMk/>
            <pc:sldMk cId="779530098" sldId="354"/>
            <ac:spMk id="3" creationId="{6D31B094-1267-E4EE-A27A-A78311439025}"/>
          </ac:spMkLst>
        </pc:spChg>
      </pc:sldChg>
      <pc:sldChg chg="modSp del mod">
        <pc:chgData name="Oskar Cederlöf" userId="3afbec19-b708-44ad-8f4b-6fae763fdba1" providerId="ADAL" clId="{838641EC-2133-4D26-906B-D97E36E646AF}" dt="2024-07-11T12:47:49.496" v="9961" actId="2696"/>
        <pc:sldMkLst>
          <pc:docMk/>
          <pc:sldMk cId="315352884" sldId="2147478383"/>
        </pc:sldMkLst>
        <pc:graphicFrameChg chg="modGraphic">
          <ac:chgData name="Oskar Cederlöf" userId="3afbec19-b708-44ad-8f4b-6fae763fdba1" providerId="ADAL" clId="{838641EC-2133-4D26-906B-D97E36E646AF}" dt="2024-07-11T12:27:54.410" v="9674" actId="6549"/>
          <ac:graphicFrameMkLst>
            <pc:docMk/>
            <pc:sldMk cId="315352884" sldId="2147478383"/>
            <ac:graphicFrameMk id="6" creationId="{67B00579-BC78-B3E1-D8A7-CC4F18D39247}"/>
          </ac:graphicFrameMkLst>
        </pc:graphicFrameChg>
      </pc:sldChg>
      <pc:sldChg chg="addSp delSp modSp del mod">
        <pc:chgData name="Oskar Cederlöf" userId="3afbec19-b708-44ad-8f4b-6fae763fdba1" providerId="ADAL" clId="{838641EC-2133-4D26-906B-D97E36E646AF}" dt="2024-07-11T11:58:55.631" v="8863" actId="2696"/>
        <pc:sldMkLst>
          <pc:docMk/>
          <pc:sldMk cId="1324445086" sldId="2147478383"/>
        </pc:sldMkLst>
        <pc:spChg chg="add del mod">
          <ac:chgData name="Oskar Cederlöf" userId="3afbec19-b708-44ad-8f4b-6fae763fdba1" providerId="ADAL" clId="{838641EC-2133-4D26-906B-D97E36E646AF}" dt="2024-07-11T08:58:02.416" v="8106"/>
          <ac:spMkLst>
            <pc:docMk/>
            <pc:sldMk cId="1324445086" sldId="2147478383"/>
            <ac:spMk id="3" creationId="{111B7039-1D12-AFB5-0DA1-AAF1AC2AF6C6}"/>
          </ac:spMkLst>
        </pc:spChg>
        <pc:spChg chg="add mod">
          <ac:chgData name="Oskar Cederlöf" userId="3afbec19-b708-44ad-8f4b-6fae763fdba1" providerId="ADAL" clId="{838641EC-2133-4D26-906B-D97E36E646AF}" dt="2024-07-11T08:57:50.174" v="8104" actId="20577"/>
          <ac:spMkLst>
            <pc:docMk/>
            <pc:sldMk cId="1324445086" sldId="2147478383"/>
            <ac:spMk id="4" creationId="{B393816D-4072-E49F-5F91-7C0ABAFC4A82}"/>
          </ac:spMkLst>
        </pc:spChg>
        <pc:graphicFrameChg chg="modGraphic">
          <ac:chgData name="Oskar Cederlöf" userId="3afbec19-b708-44ad-8f4b-6fae763fdba1" providerId="ADAL" clId="{838641EC-2133-4D26-906B-D97E36E646AF}" dt="2024-07-10T07:33:52.710" v="3983" actId="2165"/>
          <ac:graphicFrameMkLst>
            <pc:docMk/>
            <pc:sldMk cId="1324445086" sldId="2147478383"/>
            <ac:graphicFrameMk id="6" creationId="{67B00579-BC78-B3E1-D8A7-CC4F18D39247}"/>
          </ac:graphicFrameMkLst>
        </pc:graphicFrameChg>
      </pc:sldChg>
      <pc:sldChg chg="delSp del mod">
        <pc:chgData name="Oskar Cederlöf" userId="3afbec19-b708-44ad-8f4b-6fae763fdba1" providerId="ADAL" clId="{838641EC-2133-4D26-906B-D97E36E646AF}" dt="2024-07-11T12:26:56.334" v="9667" actId="2696"/>
        <pc:sldMkLst>
          <pc:docMk/>
          <pc:sldMk cId="4122349309" sldId="2147478383"/>
        </pc:sldMkLst>
        <pc:spChg chg="del">
          <ac:chgData name="Oskar Cederlöf" userId="3afbec19-b708-44ad-8f4b-6fae763fdba1" providerId="ADAL" clId="{838641EC-2133-4D26-906B-D97E36E646AF}" dt="2024-07-11T12:24:26.989" v="9522" actId="478"/>
          <ac:spMkLst>
            <pc:docMk/>
            <pc:sldMk cId="4122349309" sldId="2147478383"/>
            <ac:spMk id="4" creationId="{B393816D-4072-E49F-5F91-7C0ABAFC4A82}"/>
          </ac:spMkLst>
        </pc:spChg>
      </pc:sldChg>
      <pc:sldChg chg="modSp del mod">
        <pc:chgData name="Oskar Cederlöf" userId="3afbec19-b708-44ad-8f4b-6fae763fdba1" providerId="ADAL" clId="{838641EC-2133-4D26-906B-D97E36E646AF}" dt="2024-07-11T12:47:49.496" v="9961" actId="2696"/>
        <pc:sldMkLst>
          <pc:docMk/>
          <pc:sldMk cId="347361762" sldId="2147478384"/>
        </pc:sldMkLst>
        <pc:graphicFrameChg chg="modGraphic">
          <ac:chgData name="Oskar Cederlöf" userId="3afbec19-b708-44ad-8f4b-6fae763fdba1" providerId="ADAL" clId="{838641EC-2133-4D26-906B-D97E36E646AF}" dt="2024-07-11T12:33:02.168" v="9744" actId="20577"/>
          <ac:graphicFrameMkLst>
            <pc:docMk/>
            <pc:sldMk cId="347361762" sldId="2147478384"/>
            <ac:graphicFrameMk id="6" creationId="{67B00579-BC78-B3E1-D8A7-CC4F18D39247}"/>
          </ac:graphicFrameMkLst>
        </pc:graphicFrameChg>
      </pc:sldChg>
      <pc:sldChg chg="del">
        <pc:chgData name="Oskar Cederlöf" userId="3afbec19-b708-44ad-8f4b-6fae763fdba1" providerId="ADAL" clId="{838641EC-2133-4D26-906B-D97E36E646AF}" dt="2024-07-11T11:58:55.631" v="8863" actId="2696"/>
        <pc:sldMkLst>
          <pc:docMk/>
          <pc:sldMk cId="2766186005" sldId="2147478384"/>
        </pc:sldMkLst>
      </pc:sldChg>
      <pc:sldChg chg="del">
        <pc:chgData name="Oskar Cederlöf" userId="3afbec19-b708-44ad-8f4b-6fae763fdba1" providerId="ADAL" clId="{838641EC-2133-4D26-906B-D97E36E646AF}" dt="2024-07-11T12:26:56.334" v="9667" actId="2696"/>
        <pc:sldMkLst>
          <pc:docMk/>
          <pc:sldMk cId="3894170930" sldId="2147478384"/>
        </pc:sldMkLst>
      </pc:sldChg>
      <pc:sldChg chg="modSp mod ord">
        <pc:chgData name="Oskar Cederlöf" userId="3afbec19-b708-44ad-8f4b-6fae763fdba1" providerId="ADAL" clId="{838641EC-2133-4D26-906B-D97E36E646AF}" dt="2024-07-11T12:58:05.353" v="10355" actId="6549"/>
        <pc:sldMkLst>
          <pc:docMk/>
          <pc:sldMk cId="1871422701" sldId="2147478390"/>
        </pc:sldMkLst>
        <pc:spChg chg="mod">
          <ac:chgData name="Oskar Cederlöf" userId="3afbec19-b708-44ad-8f4b-6fae763fdba1" providerId="ADAL" clId="{838641EC-2133-4D26-906B-D97E36E646AF}" dt="2024-07-10T07:06:24.124" v="3233" actId="20577"/>
          <ac:spMkLst>
            <pc:docMk/>
            <pc:sldMk cId="1871422701" sldId="2147478390"/>
            <ac:spMk id="4" creationId="{8166AFFF-6DDB-9411-490C-5F2327B09045}"/>
          </ac:spMkLst>
        </pc:spChg>
        <pc:spChg chg="mod">
          <ac:chgData name="Oskar Cederlöf" userId="3afbec19-b708-44ad-8f4b-6fae763fdba1" providerId="ADAL" clId="{838641EC-2133-4D26-906B-D97E36E646AF}" dt="2024-07-11T12:58:05.353" v="10355" actId="6549"/>
          <ac:spMkLst>
            <pc:docMk/>
            <pc:sldMk cId="1871422701" sldId="2147478390"/>
            <ac:spMk id="5" creationId="{BA349ABD-36EE-ABF4-25D0-1BCF00F11178}"/>
          </ac:spMkLst>
        </pc:spChg>
      </pc:sldChg>
      <pc:sldChg chg="addSp delSp modSp del mod">
        <pc:chgData name="Oskar Cederlöf" userId="3afbec19-b708-44ad-8f4b-6fae763fdba1" providerId="ADAL" clId="{838641EC-2133-4D26-906B-D97E36E646AF}" dt="2024-07-11T07:53:07.853" v="7463" actId="47"/>
        <pc:sldMkLst>
          <pc:docMk/>
          <pc:sldMk cId="4196856957" sldId="2147478392"/>
        </pc:sldMkLst>
        <pc:spChg chg="add del mod">
          <ac:chgData name="Oskar Cederlöf" userId="3afbec19-b708-44ad-8f4b-6fae763fdba1" providerId="ADAL" clId="{838641EC-2133-4D26-906B-D97E36E646AF}" dt="2024-07-11T07:52:44.867" v="7433" actId="21"/>
          <ac:spMkLst>
            <pc:docMk/>
            <pc:sldMk cId="4196856957" sldId="2147478392"/>
            <ac:spMk id="3" creationId="{4FA039AB-E17D-8581-F3EC-543256FBBAE0}"/>
          </ac:spMkLst>
        </pc:spChg>
        <pc:spChg chg="mod">
          <ac:chgData name="Oskar Cederlöf" userId="3afbec19-b708-44ad-8f4b-6fae763fdba1" providerId="ADAL" clId="{838641EC-2133-4D26-906B-D97E36E646AF}" dt="2024-07-10T11:13:35.753" v="5326" actId="20577"/>
          <ac:spMkLst>
            <pc:docMk/>
            <pc:sldMk cId="4196856957" sldId="2147478392"/>
            <ac:spMk id="4" creationId="{E1A3F83D-7D11-3BB6-5138-3A0A000442F1}"/>
          </ac:spMkLst>
        </pc:spChg>
      </pc:sldChg>
      <pc:sldChg chg="addSp modSp mod">
        <pc:chgData name="Oskar Cederlöf" userId="3afbec19-b708-44ad-8f4b-6fae763fdba1" providerId="ADAL" clId="{838641EC-2133-4D26-906B-D97E36E646AF}" dt="2024-07-10T07:17:12.335" v="3860" actId="1076"/>
        <pc:sldMkLst>
          <pc:docMk/>
          <pc:sldMk cId="2604566993" sldId="2147478395"/>
        </pc:sldMkLst>
        <pc:spChg chg="add mod">
          <ac:chgData name="Oskar Cederlöf" userId="3afbec19-b708-44ad-8f4b-6fae763fdba1" providerId="ADAL" clId="{838641EC-2133-4D26-906B-D97E36E646AF}" dt="2024-07-10T07:17:12.335" v="3860" actId="1076"/>
          <ac:spMkLst>
            <pc:docMk/>
            <pc:sldMk cId="2604566993" sldId="2147478395"/>
            <ac:spMk id="2" creationId="{31CDE697-0F1C-DCA9-0F65-EFB0A1037FF7}"/>
          </ac:spMkLst>
        </pc:spChg>
      </pc:sldChg>
      <pc:sldChg chg="modSp mod ord">
        <pc:chgData name="Oskar Cederlöf" userId="3afbec19-b708-44ad-8f4b-6fae763fdba1" providerId="ADAL" clId="{838641EC-2133-4D26-906B-D97E36E646AF}" dt="2024-07-11T09:03:46.561" v="8150"/>
        <pc:sldMkLst>
          <pc:docMk/>
          <pc:sldMk cId="16580982" sldId="2147478396"/>
        </pc:sldMkLst>
        <pc:spChg chg="mod">
          <ac:chgData name="Oskar Cederlöf" userId="3afbec19-b708-44ad-8f4b-6fae763fdba1" providerId="ADAL" clId="{838641EC-2133-4D26-906B-D97E36E646AF}" dt="2024-07-11T07:26:43.053" v="6296" actId="20577"/>
          <ac:spMkLst>
            <pc:docMk/>
            <pc:sldMk cId="16580982" sldId="2147478396"/>
            <ac:spMk id="7" creationId="{17493462-4999-4255-2F2A-726913C5371B}"/>
          </ac:spMkLst>
        </pc:spChg>
      </pc:sldChg>
      <pc:sldChg chg="modSp mod ord">
        <pc:chgData name="Oskar Cederlöf" userId="3afbec19-b708-44ad-8f4b-6fae763fdba1" providerId="ADAL" clId="{838641EC-2133-4D26-906B-D97E36E646AF}" dt="2024-07-11T08:45:57.996" v="7941" actId="6549"/>
        <pc:sldMkLst>
          <pc:docMk/>
          <pc:sldMk cId="2681026659" sldId="2147478398"/>
        </pc:sldMkLst>
        <pc:spChg chg="mod">
          <ac:chgData name="Oskar Cederlöf" userId="3afbec19-b708-44ad-8f4b-6fae763fdba1" providerId="ADAL" clId="{838641EC-2133-4D26-906B-D97E36E646AF}" dt="2024-07-11T08:43:13.554" v="7839" actId="20577"/>
          <ac:spMkLst>
            <pc:docMk/>
            <pc:sldMk cId="2681026659" sldId="2147478398"/>
            <ac:spMk id="5" creationId="{07C84C5A-969C-651C-40C1-CC701195FB76}"/>
          </ac:spMkLst>
        </pc:spChg>
        <pc:spChg chg="mod">
          <ac:chgData name="Oskar Cederlöf" userId="3afbec19-b708-44ad-8f4b-6fae763fdba1" providerId="ADAL" clId="{838641EC-2133-4D26-906B-D97E36E646AF}" dt="2024-07-11T08:45:57.996" v="7941" actId="6549"/>
          <ac:spMkLst>
            <pc:docMk/>
            <pc:sldMk cId="2681026659" sldId="2147478398"/>
            <ac:spMk id="6" creationId="{95B7FAD1-7EFC-A58A-A073-2474F263ABDD}"/>
          </ac:spMkLst>
        </pc:spChg>
      </pc:sldChg>
      <pc:sldChg chg="addSp delSp modSp mod">
        <pc:chgData name="Oskar Cederlöf" userId="3afbec19-b708-44ad-8f4b-6fae763fdba1" providerId="ADAL" clId="{838641EC-2133-4D26-906B-D97E36E646AF}" dt="2024-07-11T12:52:46.821" v="10312" actId="1076"/>
        <pc:sldMkLst>
          <pc:docMk/>
          <pc:sldMk cId="1650419112" sldId="2147478399"/>
        </pc:sldMkLst>
        <pc:spChg chg="add mod">
          <ac:chgData name="Oskar Cederlöf" userId="3afbec19-b708-44ad-8f4b-6fae763fdba1" providerId="ADAL" clId="{838641EC-2133-4D26-906B-D97E36E646AF}" dt="2024-07-11T12:52:31.922" v="10310" actId="6549"/>
          <ac:spMkLst>
            <pc:docMk/>
            <pc:sldMk cId="1650419112" sldId="2147478399"/>
            <ac:spMk id="2" creationId="{3F1E5667-8C19-70DB-C706-A359BFBBD979}"/>
          </ac:spMkLst>
        </pc:spChg>
        <pc:spChg chg="mod">
          <ac:chgData name="Oskar Cederlöf" userId="3afbec19-b708-44ad-8f4b-6fae763fdba1" providerId="ADAL" clId="{838641EC-2133-4D26-906B-D97E36E646AF}" dt="2024-07-10T07:43:40.237" v="4310" actId="1076"/>
          <ac:spMkLst>
            <pc:docMk/>
            <pc:sldMk cId="1650419112" sldId="2147478399"/>
            <ac:spMk id="4" creationId="{1B49A37A-E8E8-849F-EDDE-5616F8C973FB}"/>
          </ac:spMkLst>
        </pc:spChg>
        <pc:spChg chg="add del mod">
          <ac:chgData name="Oskar Cederlöf" userId="3afbec19-b708-44ad-8f4b-6fae763fdba1" providerId="ADAL" clId="{838641EC-2133-4D26-906B-D97E36E646AF}" dt="2024-07-11T12:52:46.821" v="10312" actId="1076"/>
          <ac:spMkLst>
            <pc:docMk/>
            <pc:sldMk cId="1650419112" sldId="2147478399"/>
            <ac:spMk id="5" creationId="{65DEE672-6C3E-E84F-DEF8-79C297345FC3}"/>
          </ac:spMkLst>
        </pc:spChg>
        <pc:spChg chg="add del mod">
          <ac:chgData name="Oskar Cederlöf" userId="3afbec19-b708-44ad-8f4b-6fae763fdba1" providerId="ADAL" clId="{838641EC-2133-4D26-906B-D97E36E646AF}" dt="2024-07-11T09:02:14.445" v="8146" actId="478"/>
          <ac:spMkLst>
            <pc:docMk/>
            <pc:sldMk cId="1650419112" sldId="2147478399"/>
            <ac:spMk id="6" creationId="{5D51730E-51FB-EF5B-2039-865D4B2F79FA}"/>
          </ac:spMkLst>
        </pc:spChg>
      </pc:sldChg>
      <pc:sldChg chg="addSp modSp mod">
        <pc:chgData name="Oskar Cederlöf" userId="3afbec19-b708-44ad-8f4b-6fae763fdba1" providerId="ADAL" clId="{838641EC-2133-4D26-906B-D97E36E646AF}" dt="2024-07-10T07:27:53.906" v="3925" actId="20577"/>
        <pc:sldMkLst>
          <pc:docMk/>
          <pc:sldMk cId="1361013547" sldId="2147478402"/>
        </pc:sldMkLst>
        <pc:spChg chg="add mod">
          <ac:chgData name="Oskar Cederlöf" userId="3afbec19-b708-44ad-8f4b-6fae763fdba1" providerId="ADAL" clId="{838641EC-2133-4D26-906B-D97E36E646AF}" dt="2024-07-10T07:27:53.906" v="3925" actId="20577"/>
          <ac:spMkLst>
            <pc:docMk/>
            <pc:sldMk cId="1361013547" sldId="2147478402"/>
            <ac:spMk id="2" creationId="{E1459134-FA11-D217-16A5-1FE912CA33B3}"/>
          </ac:spMkLst>
        </pc:spChg>
      </pc:sldChg>
      <pc:sldChg chg="addSp modSp new del mod">
        <pc:chgData name="Oskar Cederlöf" userId="3afbec19-b708-44ad-8f4b-6fae763fdba1" providerId="ADAL" clId="{838641EC-2133-4D26-906B-D97E36E646AF}" dt="2024-07-11T12:57:13.555" v="10350" actId="2696"/>
        <pc:sldMkLst>
          <pc:docMk/>
          <pc:sldMk cId="743930507" sldId="2147478403"/>
        </pc:sldMkLst>
        <pc:spChg chg="mod">
          <ac:chgData name="Oskar Cederlöf" userId="3afbec19-b708-44ad-8f4b-6fae763fdba1" providerId="ADAL" clId="{838641EC-2133-4D26-906B-D97E36E646AF}" dt="2024-07-10T07:33:18.371" v="3977" actId="1076"/>
          <ac:spMkLst>
            <pc:docMk/>
            <pc:sldMk cId="743930507" sldId="2147478403"/>
            <ac:spMk id="2" creationId="{E7987BDD-06DE-EC10-7A51-8362A43F8FB7}"/>
          </ac:spMkLst>
        </pc:spChg>
        <pc:spChg chg="add mod">
          <ac:chgData name="Oskar Cederlöf" userId="3afbec19-b708-44ad-8f4b-6fae763fdba1" providerId="ADAL" clId="{838641EC-2133-4D26-906B-D97E36E646AF}" dt="2024-07-10T07:33:41.530" v="3982" actId="1076"/>
          <ac:spMkLst>
            <pc:docMk/>
            <pc:sldMk cId="743930507" sldId="2147478403"/>
            <ac:spMk id="5" creationId="{380B527C-7D2B-2051-A349-BCAD444922EF}"/>
          </ac:spMkLst>
        </pc:spChg>
        <pc:picChg chg="add mod">
          <ac:chgData name="Oskar Cederlöf" userId="3afbec19-b708-44ad-8f4b-6fae763fdba1" providerId="ADAL" clId="{838641EC-2133-4D26-906B-D97E36E646AF}" dt="2024-07-10T07:33:14.699" v="3976" actId="14100"/>
          <ac:picMkLst>
            <pc:docMk/>
            <pc:sldMk cId="743930507" sldId="2147478403"/>
            <ac:picMk id="4" creationId="{097FD3EB-CF43-5A19-61BE-73CC9BB37262}"/>
          </ac:picMkLst>
        </pc:picChg>
      </pc:sldChg>
      <pc:sldChg chg="addSp modSp new del mod">
        <pc:chgData name="Oskar Cederlöf" userId="3afbec19-b708-44ad-8f4b-6fae763fdba1" providerId="ADAL" clId="{838641EC-2133-4D26-906B-D97E36E646AF}" dt="2024-07-11T12:57:13.555" v="10350" actId="2696"/>
        <pc:sldMkLst>
          <pc:docMk/>
          <pc:sldMk cId="3916643153" sldId="2147478404"/>
        </pc:sldMkLst>
        <pc:spChg chg="mod">
          <ac:chgData name="Oskar Cederlöf" userId="3afbec19-b708-44ad-8f4b-6fae763fdba1" providerId="ADAL" clId="{838641EC-2133-4D26-906B-D97E36E646AF}" dt="2024-07-10T07:38:06.589" v="4064" actId="1076"/>
          <ac:spMkLst>
            <pc:docMk/>
            <pc:sldMk cId="3916643153" sldId="2147478404"/>
            <ac:spMk id="2" creationId="{5F3057BB-75C0-812D-0492-7FA966CD7FDA}"/>
          </ac:spMkLst>
        </pc:spChg>
        <pc:spChg chg="add mod">
          <ac:chgData name="Oskar Cederlöf" userId="3afbec19-b708-44ad-8f4b-6fae763fdba1" providerId="ADAL" clId="{838641EC-2133-4D26-906B-D97E36E646AF}" dt="2024-07-10T07:38:27.348" v="4069" actId="207"/>
          <ac:spMkLst>
            <pc:docMk/>
            <pc:sldMk cId="3916643153" sldId="2147478404"/>
            <ac:spMk id="5" creationId="{0B42680F-D9DB-7A84-3516-127F64EE5729}"/>
          </ac:spMkLst>
        </pc:spChg>
        <pc:picChg chg="add mod">
          <ac:chgData name="Oskar Cederlöf" userId="3afbec19-b708-44ad-8f4b-6fae763fdba1" providerId="ADAL" clId="{838641EC-2133-4D26-906B-D97E36E646AF}" dt="2024-07-10T07:38:08.572" v="4065" actId="1076"/>
          <ac:picMkLst>
            <pc:docMk/>
            <pc:sldMk cId="3916643153" sldId="2147478404"/>
            <ac:picMk id="4" creationId="{1CF4E467-E106-DDD1-E7DB-08B5CCED12C1}"/>
          </ac:picMkLst>
        </pc:picChg>
      </pc:sldChg>
      <pc:sldChg chg="modSp new mod ord">
        <pc:chgData name="Oskar Cederlöf" userId="3afbec19-b708-44ad-8f4b-6fae763fdba1" providerId="ADAL" clId="{838641EC-2133-4D26-906B-D97E36E646AF}" dt="2024-07-11T12:55:35.960" v="10347" actId="20577"/>
        <pc:sldMkLst>
          <pc:docMk/>
          <pc:sldMk cId="414210311" sldId="2147478405"/>
        </pc:sldMkLst>
        <pc:spChg chg="mod">
          <ac:chgData name="Oskar Cederlöf" userId="3afbec19-b708-44ad-8f4b-6fae763fdba1" providerId="ADAL" clId="{838641EC-2133-4D26-906B-D97E36E646AF}" dt="2024-07-11T12:55:35.960" v="10347" actId="20577"/>
          <ac:spMkLst>
            <pc:docMk/>
            <pc:sldMk cId="414210311" sldId="2147478405"/>
            <ac:spMk id="2" creationId="{12BA775D-702B-6003-4350-35CA0DD3F6F8}"/>
          </ac:spMkLst>
        </pc:spChg>
        <pc:spChg chg="mod">
          <ac:chgData name="Oskar Cederlöf" userId="3afbec19-b708-44ad-8f4b-6fae763fdba1" providerId="ADAL" clId="{838641EC-2133-4D26-906B-D97E36E646AF}" dt="2024-07-10T11:23:02.344" v="6094" actId="20577"/>
          <ac:spMkLst>
            <pc:docMk/>
            <pc:sldMk cId="414210311" sldId="2147478405"/>
            <ac:spMk id="3" creationId="{6FC94DAA-FB6A-67B7-3D56-DD5FA71DE95C}"/>
          </ac:spMkLst>
        </pc:spChg>
      </pc:sldChg>
      <pc:sldChg chg="modSp add mod">
        <pc:chgData name="Oskar Cederlöf" userId="3afbec19-b708-44ad-8f4b-6fae763fdba1" providerId="ADAL" clId="{838641EC-2133-4D26-906B-D97E36E646AF}" dt="2024-07-10T11:11:19.513" v="5244" actId="20577"/>
        <pc:sldMkLst>
          <pc:docMk/>
          <pc:sldMk cId="2807281666" sldId="2147478406"/>
        </pc:sldMkLst>
        <pc:spChg chg="mod">
          <ac:chgData name="Oskar Cederlöf" userId="3afbec19-b708-44ad-8f4b-6fae763fdba1" providerId="ADAL" clId="{838641EC-2133-4D26-906B-D97E36E646AF}" dt="2024-07-10T11:06:41.610" v="4611" actId="20577"/>
          <ac:spMkLst>
            <pc:docMk/>
            <pc:sldMk cId="2807281666" sldId="2147478406"/>
            <ac:spMk id="5" creationId="{07C84C5A-969C-651C-40C1-CC701195FB76}"/>
          </ac:spMkLst>
        </pc:spChg>
        <pc:spChg chg="mod">
          <ac:chgData name="Oskar Cederlöf" userId="3afbec19-b708-44ad-8f4b-6fae763fdba1" providerId="ADAL" clId="{838641EC-2133-4D26-906B-D97E36E646AF}" dt="2024-07-10T11:11:19.513" v="5244" actId="20577"/>
          <ac:spMkLst>
            <pc:docMk/>
            <pc:sldMk cId="2807281666" sldId="2147478406"/>
            <ac:spMk id="6" creationId="{95B7FAD1-7EFC-A58A-A073-2474F263ABDD}"/>
          </ac:spMkLst>
        </pc:spChg>
      </pc:sldChg>
      <pc:sldChg chg="modSp mod">
        <pc:chgData name="Oskar Cederlöf" userId="3afbec19-b708-44ad-8f4b-6fae763fdba1" providerId="ADAL" clId="{838641EC-2133-4D26-906B-D97E36E646AF}" dt="2024-07-11T09:21:10.103" v="8441" actId="20577"/>
        <pc:sldMkLst>
          <pc:docMk/>
          <pc:sldMk cId="2310578694" sldId="2147478407"/>
        </pc:sldMkLst>
        <pc:spChg chg="mod">
          <ac:chgData name="Oskar Cederlöf" userId="3afbec19-b708-44ad-8f4b-6fae763fdba1" providerId="ADAL" clId="{838641EC-2133-4D26-906B-D97E36E646AF}" dt="2024-07-11T09:21:10.103" v="8441" actId="20577"/>
          <ac:spMkLst>
            <pc:docMk/>
            <pc:sldMk cId="2310578694" sldId="2147478407"/>
            <ac:spMk id="2" creationId="{F0451400-5CE2-7A52-00E2-4A6C20487420}"/>
          </ac:spMkLst>
        </pc:spChg>
        <pc:spChg chg="mod">
          <ac:chgData name="Oskar Cederlöf" userId="3afbec19-b708-44ad-8f4b-6fae763fdba1" providerId="ADAL" clId="{838641EC-2133-4D26-906B-D97E36E646AF}" dt="2024-07-11T08:49:24.686" v="7986" actId="207"/>
          <ac:spMkLst>
            <pc:docMk/>
            <pc:sldMk cId="2310578694" sldId="2147478407"/>
            <ac:spMk id="4" creationId="{509644F2-67F0-502C-ED0F-D3BA4B5505D9}"/>
          </ac:spMkLst>
        </pc:spChg>
      </pc:sldChg>
      <pc:sldChg chg="addSp delSp modSp new mod modClrScheme chgLayout">
        <pc:chgData name="Oskar Cederlöf" userId="3afbec19-b708-44ad-8f4b-6fae763fdba1" providerId="ADAL" clId="{838641EC-2133-4D26-906B-D97E36E646AF}" dt="2024-07-11T07:25:37.467" v="6280" actId="1076"/>
        <pc:sldMkLst>
          <pc:docMk/>
          <pc:sldMk cId="1316256532" sldId="2147478408"/>
        </pc:sldMkLst>
        <pc:spChg chg="del mod ord">
          <ac:chgData name="Oskar Cederlöf" userId="3afbec19-b708-44ad-8f4b-6fae763fdba1" providerId="ADAL" clId="{838641EC-2133-4D26-906B-D97E36E646AF}" dt="2024-07-11T07:23:57.239" v="6185" actId="700"/>
          <ac:spMkLst>
            <pc:docMk/>
            <pc:sldMk cId="1316256532" sldId="2147478408"/>
            <ac:spMk id="2" creationId="{1A5460D0-8CA2-1048-AA1D-93656A864A9C}"/>
          </ac:spMkLst>
        </pc:spChg>
        <pc:spChg chg="del mod ord">
          <ac:chgData name="Oskar Cederlöf" userId="3afbec19-b708-44ad-8f4b-6fae763fdba1" providerId="ADAL" clId="{838641EC-2133-4D26-906B-D97E36E646AF}" dt="2024-07-11T07:23:57.239" v="6185" actId="700"/>
          <ac:spMkLst>
            <pc:docMk/>
            <pc:sldMk cId="1316256532" sldId="2147478408"/>
            <ac:spMk id="3" creationId="{3C300CAD-DB73-7694-4A44-10096154CBC2}"/>
          </ac:spMkLst>
        </pc:spChg>
        <pc:spChg chg="add mod ord">
          <ac:chgData name="Oskar Cederlöf" userId="3afbec19-b708-44ad-8f4b-6fae763fdba1" providerId="ADAL" clId="{838641EC-2133-4D26-906B-D97E36E646AF}" dt="2024-07-11T07:25:32.759" v="6279" actId="1076"/>
          <ac:spMkLst>
            <pc:docMk/>
            <pc:sldMk cId="1316256532" sldId="2147478408"/>
            <ac:spMk id="4" creationId="{4DA582C4-9F1D-EF19-44C7-F20E4CF5D0FD}"/>
          </ac:spMkLst>
        </pc:spChg>
        <pc:spChg chg="add mod ord">
          <ac:chgData name="Oskar Cederlöf" userId="3afbec19-b708-44ad-8f4b-6fae763fdba1" providerId="ADAL" clId="{838641EC-2133-4D26-906B-D97E36E646AF}" dt="2024-07-11T07:25:37.467" v="6280" actId="1076"/>
          <ac:spMkLst>
            <pc:docMk/>
            <pc:sldMk cId="1316256532" sldId="2147478408"/>
            <ac:spMk id="5" creationId="{71A17450-A451-F377-87AA-91208368E75B}"/>
          </ac:spMkLst>
        </pc:spChg>
      </pc:sldChg>
      <pc:sldChg chg="modSp add del mod">
        <pc:chgData name="Oskar Cederlöf" userId="3afbec19-b708-44ad-8f4b-6fae763fdba1" providerId="ADAL" clId="{838641EC-2133-4D26-906B-D97E36E646AF}" dt="2024-07-11T08:46:29.062" v="7983" actId="2696"/>
        <pc:sldMkLst>
          <pc:docMk/>
          <pc:sldMk cId="2150776036" sldId="2147478409"/>
        </pc:sldMkLst>
        <pc:spChg chg="mod">
          <ac:chgData name="Oskar Cederlöf" userId="3afbec19-b708-44ad-8f4b-6fae763fdba1" providerId="ADAL" clId="{838641EC-2133-4D26-906B-D97E36E646AF}" dt="2024-07-11T08:46:20.380" v="7982" actId="20577"/>
          <ac:spMkLst>
            <pc:docMk/>
            <pc:sldMk cId="2150776036" sldId="2147478409"/>
            <ac:spMk id="5" creationId="{07C84C5A-969C-651C-40C1-CC701195FB76}"/>
          </ac:spMkLst>
        </pc:spChg>
      </pc:sldChg>
      <pc:sldChg chg="addSp delSp modSp new mod modClrScheme chgLayout">
        <pc:chgData name="Oskar Cederlöf" userId="3afbec19-b708-44ad-8f4b-6fae763fdba1" providerId="ADAL" clId="{838641EC-2133-4D26-906B-D97E36E646AF}" dt="2024-07-11T12:11:33.855" v="9357" actId="13822"/>
        <pc:sldMkLst>
          <pc:docMk/>
          <pc:sldMk cId="3151779336" sldId="2147478410"/>
        </pc:sldMkLst>
        <pc:spChg chg="del">
          <ac:chgData name="Oskar Cederlöf" userId="3afbec19-b708-44ad-8f4b-6fae763fdba1" providerId="ADAL" clId="{838641EC-2133-4D26-906B-D97E36E646AF}" dt="2024-07-11T09:10:25.095" v="8241" actId="700"/>
          <ac:spMkLst>
            <pc:docMk/>
            <pc:sldMk cId="3151779336" sldId="2147478410"/>
            <ac:spMk id="2" creationId="{E7D5EFDE-3C17-1DEF-EACF-F10669E9D21F}"/>
          </ac:spMkLst>
        </pc:spChg>
        <pc:spChg chg="del">
          <ac:chgData name="Oskar Cederlöf" userId="3afbec19-b708-44ad-8f4b-6fae763fdba1" providerId="ADAL" clId="{838641EC-2133-4D26-906B-D97E36E646AF}" dt="2024-07-11T09:10:25.095" v="8241" actId="700"/>
          <ac:spMkLst>
            <pc:docMk/>
            <pc:sldMk cId="3151779336" sldId="2147478410"/>
            <ac:spMk id="3" creationId="{D37CA28A-568E-9DBB-5613-87B9E0862126}"/>
          </ac:spMkLst>
        </pc:spChg>
        <pc:spChg chg="add del mod">
          <ac:chgData name="Oskar Cederlöf" userId="3afbec19-b708-44ad-8f4b-6fae763fdba1" providerId="ADAL" clId="{838641EC-2133-4D26-906B-D97E36E646AF}" dt="2024-07-11T12:01:03.237" v="8872" actId="478"/>
          <ac:spMkLst>
            <pc:docMk/>
            <pc:sldMk cId="3151779336" sldId="2147478410"/>
            <ac:spMk id="4" creationId="{D26E8144-F7B3-0A09-A0A3-C62E65D80DC9}"/>
          </ac:spMkLst>
        </pc:spChg>
        <pc:spChg chg="add mod">
          <ac:chgData name="Oskar Cederlöf" userId="3afbec19-b708-44ad-8f4b-6fae763fdba1" providerId="ADAL" clId="{838641EC-2133-4D26-906B-D97E36E646AF}" dt="2024-07-11T12:01:46.764" v="8967" actId="1076"/>
          <ac:spMkLst>
            <pc:docMk/>
            <pc:sldMk cId="3151779336" sldId="2147478410"/>
            <ac:spMk id="5" creationId="{2B7C39B3-B4E4-193C-E41D-CE086B7F741A}"/>
          </ac:spMkLst>
        </pc:spChg>
        <pc:spChg chg="add del mod">
          <ac:chgData name="Oskar Cederlöf" userId="3afbec19-b708-44ad-8f4b-6fae763fdba1" providerId="ADAL" clId="{838641EC-2133-4D26-906B-D97E36E646AF}" dt="2024-07-11T12:01:15.130" v="8874" actId="478"/>
          <ac:spMkLst>
            <pc:docMk/>
            <pc:sldMk cId="3151779336" sldId="2147478410"/>
            <ac:spMk id="6" creationId="{E5B741FE-64E7-EC2E-7CE4-6A86424A3173}"/>
          </ac:spMkLst>
        </pc:spChg>
        <pc:spChg chg="add mod">
          <ac:chgData name="Oskar Cederlöf" userId="3afbec19-b708-44ad-8f4b-6fae763fdba1" providerId="ADAL" clId="{838641EC-2133-4D26-906B-D97E36E646AF}" dt="2024-07-11T12:11:03.568" v="9353" actId="1076"/>
          <ac:spMkLst>
            <pc:docMk/>
            <pc:sldMk cId="3151779336" sldId="2147478410"/>
            <ac:spMk id="13" creationId="{98BAC04F-653E-98A4-39A6-BC6A8DB989A1}"/>
          </ac:spMkLst>
        </pc:spChg>
        <pc:spChg chg="add mod">
          <ac:chgData name="Oskar Cederlöf" userId="3afbec19-b708-44ad-8f4b-6fae763fdba1" providerId="ADAL" clId="{838641EC-2133-4D26-906B-D97E36E646AF}" dt="2024-07-11T12:11:03.568" v="9353" actId="1076"/>
          <ac:spMkLst>
            <pc:docMk/>
            <pc:sldMk cId="3151779336" sldId="2147478410"/>
            <ac:spMk id="14" creationId="{01CD8536-81FF-2B45-B45B-E13A58F7847B}"/>
          </ac:spMkLst>
        </pc:spChg>
        <pc:spChg chg="add mod">
          <ac:chgData name="Oskar Cederlöf" userId="3afbec19-b708-44ad-8f4b-6fae763fdba1" providerId="ADAL" clId="{838641EC-2133-4D26-906B-D97E36E646AF}" dt="2024-07-11T12:11:03.568" v="9353" actId="1076"/>
          <ac:spMkLst>
            <pc:docMk/>
            <pc:sldMk cId="3151779336" sldId="2147478410"/>
            <ac:spMk id="17" creationId="{EF5B824E-D425-F60E-E7A5-3E9C680E6D9E}"/>
          </ac:spMkLst>
        </pc:spChg>
        <pc:spChg chg="add mod">
          <ac:chgData name="Oskar Cederlöf" userId="3afbec19-b708-44ad-8f4b-6fae763fdba1" providerId="ADAL" clId="{838641EC-2133-4D26-906B-D97E36E646AF}" dt="2024-07-11T12:11:03.568" v="9353" actId="1076"/>
          <ac:spMkLst>
            <pc:docMk/>
            <pc:sldMk cId="3151779336" sldId="2147478410"/>
            <ac:spMk id="20" creationId="{4B7CC1D2-588A-8A55-2DF7-688582E7F097}"/>
          </ac:spMkLst>
        </pc:spChg>
        <pc:spChg chg="add del mod">
          <ac:chgData name="Oskar Cederlöf" userId="3afbec19-b708-44ad-8f4b-6fae763fdba1" providerId="ADAL" clId="{838641EC-2133-4D26-906B-D97E36E646AF}" dt="2024-07-11T12:07:10.367" v="9208" actId="478"/>
          <ac:spMkLst>
            <pc:docMk/>
            <pc:sldMk cId="3151779336" sldId="2147478410"/>
            <ac:spMk id="21" creationId="{81B762E1-C0FE-844A-AE97-DF885B700E09}"/>
          </ac:spMkLst>
        </pc:spChg>
        <pc:spChg chg="add del mod">
          <ac:chgData name="Oskar Cederlöf" userId="3afbec19-b708-44ad-8f4b-6fae763fdba1" providerId="ADAL" clId="{838641EC-2133-4D26-906B-D97E36E646AF}" dt="2024-07-11T12:07:08.992" v="9207" actId="478"/>
          <ac:spMkLst>
            <pc:docMk/>
            <pc:sldMk cId="3151779336" sldId="2147478410"/>
            <ac:spMk id="22" creationId="{CE43FC27-D569-CA6A-2D8C-53269C523BC6}"/>
          </ac:spMkLst>
        </pc:spChg>
        <pc:spChg chg="add mod">
          <ac:chgData name="Oskar Cederlöf" userId="3afbec19-b708-44ad-8f4b-6fae763fdba1" providerId="ADAL" clId="{838641EC-2133-4D26-906B-D97E36E646AF}" dt="2024-07-11T12:11:03.568" v="9353" actId="1076"/>
          <ac:spMkLst>
            <pc:docMk/>
            <pc:sldMk cId="3151779336" sldId="2147478410"/>
            <ac:spMk id="24" creationId="{D77EF4E5-3BA7-9E9D-B46E-D9FBF683DB79}"/>
          </ac:spMkLst>
        </pc:spChg>
        <pc:spChg chg="add mod">
          <ac:chgData name="Oskar Cederlöf" userId="3afbec19-b708-44ad-8f4b-6fae763fdba1" providerId="ADAL" clId="{838641EC-2133-4D26-906B-D97E36E646AF}" dt="2024-07-11T12:11:03.568" v="9353" actId="1076"/>
          <ac:spMkLst>
            <pc:docMk/>
            <pc:sldMk cId="3151779336" sldId="2147478410"/>
            <ac:spMk id="25" creationId="{7E1587B3-858A-C62B-94DA-D515058A30C1}"/>
          </ac:spMkLst>
        </pc:spChg>
        <pc:spChg chg="add mod">
          <ac:chgData name="Oskar Cederlöf" userId="3afbec19-b708-44ad-8f4b-6fae763fdba1" providerId="ADAL" clId="{838641EC-2133-4D26-906B-D97E36E646AF}" dt="2024-07-11T12:11:03.568" v="9353" actId="1076"/>
          <ac:spMkLst>
            <pc:docMk/>
            <pc:sldMk cId="3151779336" sldId="2147478410"/>
            <ac:spMk id="26" creationId="{37B9CEFC-AD33-EB62-4265-C9205D61BBBF}"/>
          </ac:spMkLst>
        </pc:spChg>
        <pc:spChg chg="add mod">
          <ac:chgData name="Oskar Cederlöf" userId="3afbec19-b708-44ad-8f4b-6fae763fdba1" providerId="ADAL" clId="{838641EC-2133-4D26-906B-D97E36E646AF}" dt="2024-07-11T12:11:03.568" v="9353" actId="1076"/>
          <ac:spMkLst>
            <pc:docMk/>
            <pc:sldMk cId="3151779336" sldId="2147478410"/>
            <ac:spMk id="27" creationId="{670B41A8-2D13-B3B2-FE00-21E21EC25566}"/>
          </ac:spMkLst>
        </pc:spChg>
        <pc:spChg chg="add mod">
          <ac:chgData name="Oskar Cederlöf" userId="3afbec19-b708-44ad-8f4b-6fae763fdba1" providerId="ADAL" clId="{838641EC-2133-4D26-906B-D97E36E646AF}" dt="2024-07-11T12:11:03.568" v="9353" actId="1076"/>
          <ac:spMkLst>
            <pc:docMk/>
            <pc:sldMk cId="3151779336" sldId="2147478410"/>
            <ac:spMk id="28" creationId="{6BA7A691-7470-0405-A9B0-18F17AE80317}"/>
          </ac:spMkLst>
        </pc:spChg>
        <pc:spChg chg="add mod">
          <ac:chgData name="Oskar Cederlöf" userId="3afbec19-b708-44ad-8f4b-6fae763fdba1" providerId="ADAL" clId="{838641EC-2133-4D26-906B-D97E36E646AF}" dt="2024-07-11T12:11:03.568" v="9353" actId="1076"/>
          <ac:spMkLst>
            <pc:docMk/>
            <pc:sldMk cId="3151779336" sldId="2147478410"/>
            <ac:spMk id="29" creationId="{BC3839E0-FC4E-43AD-43C1-42ED21B4FC8C}"/>
          </ac:spMkLst>
        </pc:spChg>
        <pc:spChg chg="add mod">
          <ac:chgData name="Oskar Cederlöf" userId="3afbec19-b708-44ad-8f4b-6fae763fdba1" providerId="ADAL" clId="{838641EC-2133-4D26-906B-D97E36E646AF}" dt="2024-07-11T12:11:17.102" v="9354" actId="1076"/>
          <ac:spMkLst>
            <pc:docMk/>
            <pc:sldMk cId="3151779336" sldId="2147478410"/>
            <ac:spMk id="30" creationId="{04D76505-8897-6C39-4E49-BA07D7A1E9E6}"/>
          </ac:spMkLst>
        </pc:spChg>
        <pc:cxnChg chg="add del">
          <ac:chgData name="Oskar Cederlöf" userId="3afbec19-b708-44ad-8f4b-6fae763fdba1" providerId="ADAL" clId="{838641EC-2133-4D26-906B-D97E36E646AF}" dt="2024-07-11T12:02:14.422" v="8972" actId="478"/>
          <ac:cxnSpMkLst>
            <pc:docMk/>
            <pc:sldMk cId="3151779336" sldId="2147478410"/>
            <ac:cxnSpMk id="8" creationId="{2D394DBE-251C-6A1D-648D-A5E6C0BB517E}"/>
          </ac:cxnSpMkLst>
        </pc:cxnChg>
        <pc:cxnChg chg="add mod">
          <ac:chgData name="Oskar Cederlöf" userId="3afbec19-b708-44ad-8f4b-6fae763fdba1" providerId="ADAL" clId="{838641EC-2133-4D26-906B-D97E36E646AF}" dt="2024-07-11T12:11:03.568" v="9353" actId="1076"/>
          <ac:cxnSpMkLst>
            <pc:docMk/>
            <pc:sldMk cId="3151779336" sldId="2147478410"/>
            <ac:cxnSpMk id="10" creationId="{08281347-DA16-0A11-EC9F-DEAFD0DD0A18}"/>
          </ac:cxnSpMkLst>
        </pc:cxnChg>
        <pc:cxnChg chg="add mod">
          <ac:chgData name="Oskar Cederlöf" userId="3afbec19-b708-44ad-8f4b-6fae763fdba1" providerId="ADAL" clId="{838641EC-2133-4D26-906B-D97E36E646AF}" dt="2024-07-11T12:11:03.568" v="9353" actId="1076"/>
          <ac:cxnSpMkLst>
            <pc:docMk/>
            <pc:sldMk cId="3151779336" sldId="2147478410"/>
            <ac:cxnSpMk id="16" creationId="{49C95820-7D01-8AA3-5C4D-2FC5DD9CD60E}"/>
          </ac:cxnSpMkLst>
        </pc:cxnChg>
        <pc:cxnChg chg="add mod">
          <ac:chgData name="Oskar Cederlöf" userId="3afbec19-b708-44ad-8f4b-6fae763fdba1" providerId="ADAL" clId="{838641EC-2133-4D26-906B-D97E36E646AF}" dt="2024-07-11T12:11:03.568" v="9353" actId="1076"/>
          <ac:cxnSpMkLst>
            <pc:docMk/>
            <pc:sldMk cId="3151779336" sldId="2147478410"/>
            <ac:cxnSpMk id="19" creationId="{587FC284-AE36-3D96-DF9D-E7B2CACE41B5}"/>
          </ac:cxnSpMkLst>
        </pc:cxnChg>
        <pc:cxnChg chg="add mod">
          <ac:chgData name="Oskar Cederlöf" userId="3afbec19-b708-44ad-8f4b-6fae763fdba1" providerId="ADAL" clId="{838641EC-2133-4D26-906B-D97E36E646AF}" dt="2024-07-11T12:11:03.568" v="9353" actId="1076"/>
          <ac:cxnSpMkLst>
            <pc:docMk/>
            <pc:sldMk cId="3151779336" sldId="2147478410"/>
            <ac:cxnSpMk id="23" creationId="{1D256BEF-62FD-27A2-89A5-9FF4E55A0F03}"/>
          </ac:cxnSpMkLst>
        </pc:cxnChg>
        <pc:cxnChg chg="add mod">
          <ac:chgData name="Oskar Cederlöf" userId="3afbec19-b708-44ad-8f4b-6fae763fdba1" providerId="ADAL" clId="{838641EC-2133-4D26-906B-D97E36E646AF}" dt="2024-07-11T12:11:33.855" v="9357" actId="13822"/>
          <ac:cxnSpMkLst>
            <pc:docMk/>
            <pc:sldMk cId="3151779336" sldId="2147478410"/>
            <ac:cxnSpMk id="33" creationId="{C3C6F581-371E-0FFF-9D55-6ADF7AD8BDC3}"/>
          </ac:cxnSpMkLst>
        </pc:cxnChg>
      </pc:sldChg>
      <pc:sldChg chg="addSp delSp modSp new mod modClrScheme chgLayout">
        <pc:chgData name="Oskar Cederlöf" userId="3afbec19-b708-44ad-8f4b-6fae763fdba1" providerId="ADAL" clId="{838641EC-2133-4D26-906B-D97E36E646AF}" dt="2024-07-11T12:17:35.721" v="9455" actId="6549"/>
        <pc:sldMkLst>
          <pc:docMk/>
          <pc:sldMk cId="371669498" sldId="2147478411"/>
        </pc:sldMkLst>
        <pc:spChg chg="del mod ord">
          <ac:chgData name="Oskar Cederlöf" userId="3afbec19-b708-44ad-8f4b-6fae763fdba1" providerId="ADAL" clId="{838641EC-2133-4D26-906B-D97E36E646AF}" dt="2024-07-11T11:47:50.350" v="8446" actId="700"/>
          <ac:spMkLst>
            <pc:docMk/>
            <pc:sldMk cId="371669498" sldId="2147478411"/>
            <ac:spMk id="2" creationId="{CC5CC4B0-34E7-25B9-4359-7CD5A485AF13}"/>
          </ac:spMkLst>
        </pc:spChg>
        <pc:spChg chg="del">
          <ac:chgData name="Oskar Cederlöf" userId="3afbec19-b708-44ad-8f4b-6fae763fdba1" providerId="ADAL" clId="{838641EC-2133-4D26-906B-D97E36E646AF}" dt="2024-07-11T11:47:50.350" v="8446" actId="700"/>
          <ac:spMkLst>
            <pc:docMk/>
            <pc:sldMk cId="371669498" sldId="2147478411"/>
            <ac:spMk id="3" creationId="{30891862-D8F3-6195-2A81-D50791B73F36}"/>
          </ac:spMkLst>
        </pc:spChg>
        <pc:spChg chg="add mod ord">
          <ac:chgData name="Oskar Cederlöf" userId="3afbec19-b708-44ad-8f4b-6fae763fdba1" providerId="ADAL" clId="{838641EC-2133-4D26-906B-D97E36E646AF}" dt="2024-07-11T12:17:35.721" v="9455" actId="6549"/>
          <ac:spMkLst>
            <pc:docMk/>
            <pc:sldMk cId="371669498" sldId="2147478411"/>
            <ac:spMk id="4" creationId="{CA5DEF00-5540-6D55-0489-E4316A065FB4}"/>
          </ac:spMkLst>
        </pc:spChg>
        <pc:graphicFrameChg chg="add del mod modGraphic">
          <ac:chgData name="Oskar Cederlöf" userId="3afbec19-b708-44ad-8f4b-6fae763fdba1" providerId="ADAL" clId="{838641EC-2133-4D26-906B-D97E36E646AF}" dt="2024-07-11T12:17:29.934" v="9453" actId="20577"/>
          <ac:graphicFrameMkLst>
            <pc:docMk/>
            <pc:sldMk cId="371669498" sldId="2147478411"/>
            <ac:graphicFrameMk id="5" creationId="{D30ED36A-D4FC-76E5-EA20-D6CE533DDF13}"/>
          </ac:graphicFrameMkLst>
        </pc:graphicFrameChg>
      </pc:sldChg>
      <pc:sldChg chg="addSp delSp modSp new mod modClrScheme chgLayout">
        <pc:chgData name="Oskar Cederlöf" userId="3afbec19-b708-44ad-8f4b-6fae763fdba1" providerId="ADAL" clId="{838641EC-2133-4D26-906B-D97E36E646AF}" dt="2024-07-11T12:47:38.431" v="9960"/>
        <pc:sldMkLst>
          <pc:docMk/>
          <pc:sldMk cId="2713932005" sldId="2147478412"/>
        </pc:sldMkLst>
        <pc:spChg chg="del">
          <ac:chgData name="Oskar Cederlöf" userId="3afbec19-b708-44ad-8f4b-6fae763fdba1" providerId="ADAL" clId="{838641EC-2133-4D26-906B-D97E36E646AF}" dt="2024-07-11T12:23:45.682" v="9474" actId="700"/>
          <ac:spMkLst>
            <pc:docMk/>
            <pc:sldMk cId="2713932005" sldId="2147478412"/>
            <ac:spMk id="2" creationId="{D1E1E3A7-5588-E923-7FD2-99BE3ECA4773}"/>
          </ac:spMkLst>
        </pc:spChg>
        <pc:spChg chg="del mod ord">
          <ac:chgData name="Oskar Cederlöf" userId="3afbec19-b708-44ad-8f4b-6fae763fdba1" providerId="ADAL" clId="{838641EC-2133-4D26-906B-D97E36E646AF}" dt="2024-07-11T12:23:45.682" v="9474" actId="700"/>
          <ac:spMkLst>
            <pc:docMk/>
            <pc:sldMk cId="2713932005" sldId="2147478412"/>
            <ac:spMk id="3" creationId="{A44E45E9-B765-E690-7443-BE2566904C17}"/>
          </ac:spMkLst>
        </pc:spChg>
        <pc:spChg chg="add mod ord">
          <ac:chgData name="Oskar Cederlöf" userId="3afbec19-b708-44ad-8f4b-6fae763fdba1" providerId="ADAL" clId="{838641EC-2133-4D26-906B-D97E36E646AF}" dt="2024-07-11T12:24:06.511" v="9521" actId="14100"/>
          <ac:spMkLst>
            <pc:docMk/>
            <pc:sldMk cId="2713932005" sldId="2147478412"/>
            <ac:spMk id="4" creationId="{9322697A-33B6-35DB-F437-C7AA352B346D}"/>
          </ac:spMkLst>
        </pc:spChg>
        <pc:graphicFrameChg chg="add mod modGraphic">
          <ac:chgData name="Oskar Cederlöf" userId="3afbec19-b708-44ad-8f4b-6fae763fdba1" providerId="ADAL" clId="{838641EC-2133-4D26-906B-D97E36E646AF}" dt="2024-07-11T12:47:38.431" v="9960"/>
          <ac:graphicFrameMkLst>
            <pc:docMk/>
            <pc:sldMk cId="2713932005" sldId="2147478412"/>
            <ac:graphicFrameMk id="5" creationId="{28072297-ED0F-3EEC-BCC9-D3FCBE038CDC}"/>
          </ac:graphicFrameMkLst>
        </pc:graphicFrameChg>
      </pc:sldChg>
      <pc:sldChg chg="addSp delSp modSp new mod modClrScheme chgLayout">
        <pc:chgData name="Oskar Cederlöf" userId="3afbec19-b708-44ad-8f4b-6fae763fdba1" providerId="ADAL" clId="{838641EC-2133-4D26-906B-D97E36E646AF}" dt="2024-07-11T12:50:15.358" v="10158" actId="6549"/>
        <pc:sldMkLst>
          <pc:docMk/>
          <pc:sldMk cId="2062167656" sldId="2147478413"/>
        </pc:sldMkLst>
        <pc:spChg chg="del mod ord">
          <ac:chgData name="Oskar Cederlöf" userId="3afbec19-b708-44ad-8f4b-6fae763fdba1" providerId="ADAL" clId="{838641EC-2133-4D26-906B-D97E36E646AF}" dt="2024-07-11T12:49:15.724" v="10002" actId="700"/>
          <ac:spMkLst>
            <pc:docMk/>
            <pc:sldMk cId="2062167656" sldId="2147478413"/>
            <ac:spMk id="2" creationId="{779C2F13-42E8-BE1E-D7BD-2A05083DF5C6}"/>
          </ac:spMkLst>
        </pc:spChg>
        <pc:spChg chg="del mod ord">
          <ac:chgData name="Oskar Cederlöf" userId="3afbec19-b708-44ad-8f4b-6fae763fdba1" providerId="ADAL" clId="{838641EC-2133-4D26-906B-D97E36E646AF}" dt="2024-07-11T12:49:15.724" v="10002" actId="700"/>
          <ac:spMkLst>
            <pc:docMk/>
            <pc:sldMk cId="2062167656" sldId="2147478413"/>
            <ac:spMk id="3" creationId="{A362A5A2-8629-FD3A-D2B3-03F95C59C84B}"/>
          </ac:spMkLst>
        </pc:spChg>
        <pc:spChg chg="add mod ord">
          <ac:chgData name="Oskar Cederlöf" userId="3afbec19-b708-44ad-8f4b-6fae763fdba1" providerId="ADAL" clId="{838641EC-2133-4D26-906B-D97E36E646AF}" dt="2024-07-11T12:50:15.358" v="10158" actId="6549"/>
          <ac:spMkLst>
            <pc:docMk/>
            <pc:sldMk cId="2062167656" sldId="2147478413"/>
            <ac:spMk id="4" creationId="{92AA227A-452F-A493-A92B-25CEB6EF35DE}"/>
          </ac:spMkLst>
        </pc:spChg>
        <pc:spChg chg="add del mod ord">
          <ac:chgData name="Oskar Cederlöf" userId="3afbec19-b708-44ad-8f4b-6fae763fdba1" providerId="ADAL" clId="{838641EC-2133-4D26-906B-D97E36E646AF}" dt="2024-07-11T12:50:04.686" v="10154" actId="478"/>
          <ac:spMkLst>
            <pc:docMk/>
            <pc:sldMk cId="2062167656" sldId="2147478413"/>
            <ac:spMk id="5" creationId="{198778C6-AD69-F79F-F179-BF60C77FACD5}"/>
          </ac:spMkLst>
        </pc:spChg>
      </pc:sldChg>
    </pc:docChg>
  </pc:docChgLst>
  <pc:docChgLst>
    <pc:chgData name="Lars Persson" userId="7f1cec89-9700-434c-88ef-862d3050ba2c" providerId="ADAL" clId="{96DC89DB-0AA9-4E9E-9188-E2CBE63CFBC5}"/>
    <pc:docChg chg="undo custSel modSld">
      <pc:chgData name="Lars Persson" userId="7f1cec89-9700-434c-88ef-862d3050ba2c" providerId="ADAL" clId="{96DC89DB-0AA9-4E9E-9188-E2CBE63CFBC5}" dt="2024-08-20T10:21:39.595" v="528" actId="20577"/>
      <pc:docMkLst>
        <pc:docMk/>
      </pc:docMkLst>
      <pc:sldChg chg="modSp mod">
        <pc:chgData name="Lars Persson" userId="7f1cec89-9700-434c-88ef-862d3050ba2c" providerId="ADAL" clId="{96DC89DB-0AA9-4E9E-9188-E2CBE63CFBC5}" dt="2024-08-20T10:21:01.397" v="519" actId="20577"/>
        <pc:sldMkLst>
          <pc:docMk/>
          <pc:sldMk cId="1871422701" sldId="2147478390"/>
        </pc:sldMkLst>
        <pc:spChg chg="mod">
          <ac:chgData name="Lars Persson" userId="7f1cec89-9700-434c-88ef-862d3050ba2c" providerId="ADAL" clId="{96DC89DB-0AA9-4E9E-9188-E2CBE63CFBC5}" dt="2024-08-20T10:21:01.397" v="519" actId="20577"/>
          <ac:spMkLst>
            <pc:docMk/>
            <pc:sldMk cId="1871422701" sldId="2147478390"/>
            <ac:spMk id="4" creationId="{8166AFFF-6DDB-9411-490C-5F2327B09045}"/>
          </ac:spMkLst>
        </pc:spChg>
      </pc:sldChg>
      <pc:sldChg chg="modSp mod">
        <pc:chgData name="Lars Persson" userId="7f1cec89-9700-434c-88ef-862d3050ba2c" providerId="ADAL" clId="{96DC89DB-0AA9-4E9E-9188-E2CBE63CFBC5}" dt="2024-08-20T10:21:39.595" v="528" actId="20577"/>
        <pc:sldMkLst>
          <pc:docMk/>
          <pc:sldMk cId="2604566993" sldId="2147478395"/>
        </pc:sldMkLst>
        <pc:spChg chg="mod">
          <ac:chgData name="Lars Persson" userId="7f1cec89-9700-434c-88ef-862d3050ba2c" providerId="ADAL" clId="{96DC89DB-0AA9-4E9E-9188-E2CBE63CFBC5}" dt="2024-08-20T10:21:39.595" v="528" actId="20577"/>
          <ac:spMkLst>
            <pc:docMk/>
            <pc:sldMk cId="2604566993" sldId="2147478395"/>
            <ac:spMk id="4" creationId="{E1A3F83D-7D11-3BB6-5138-3A0A000442F1}"/>
          </ac:spMkLst>
        </pc:spChg>
      </pc:sldChg>
      <pc:sldChg chg="modSp mod">
        <pc:chgData name="Lars Persson" userId="7f1cec89-9700-434c-88ef-862d3050ba2c" providerId="ADAL" clId="{96DC89DB-0AA9-4E9E-9188-E2CBE63CFBC5}" dt="2024-08-20T08:39:50.416" v="1" actId="20577"/>
        <pc:sldMkLst>
          <pc:docMk/>
          <pc:sldMk cId="2649160507" sldId="2147478404"/>
        </pc:sldMkLst>
        <pc:spChg chg="mod">
          <ac:chgData name="Lars Persson" userId="7f1cec89-9700-434c-88ef-862d3050ba2c" providerId="ADAL" clId="{96DC89DB-0AA9-4E9E-9188-E2CBE63CFBC5}" dt="2024-08-20T08:39:50.416" v="1" actId="20577"/>
          <ac:spMkLst>
            <pc:docMk/>
            <pc:sldMk cId="2649160507" sldId="2147478404"/>
            <ac:spMk id="5" creationId="{0B42680F-D9DB-7A84-3516-127F64EE5729}"/>
          </ac:spMkLst>
        </pc:spChg>
      </pc:sldChg>
      <pc:sldChg chg="addSp delSp modSp mod">
        <pc:chgData name="Lars Persson" userId="7f1cec89-9700-434c-88ef-862d3050ba2c" providerId="ADAL" clId="{96DC89DB-0AA9-4E9E-9188-E2CBE63CFBC5}" dt="2024-08-20T10:19:01.250" v="511" actId="113"/>
        <pc:sldMkLst>
          <pc:docMk/>
          <pc:sldMk cId="2130798597" sldId="2147478415"/>
        </pc:sldMkLst>
        <pc:spChg chg="mod">
          <ac:chgData name="Lars Persson" userId="7f1cec89-9700-434c-88ef-862d3050ba2c" providerId="ADAL" clId="{96DC89DB-0AA9-4E9E-9188-E2CBE63CFBC5}" dt="2024-08-20T10:19:01.250" v="511" actId="113"/>
          <ac:spMkLst>
            <pc:docMk/>
            <pc:sldMk cId="2130798597" sldId="2147478415"/>
            <ac:spMk id="2" creationId="{3B28A57A-9417-DE07-B7DD-1F5891254E3C}"/>
          </ac:spMkLst>
        </pc:spChg>
        <pc:spChg chg="add del mod">
          <ac:chgData name="Lars Persson" userId="7f1cec89-9700-434c-88ef-862d3050ba2c" providerId="ADAL" clId="{96DC89DB-0AA9-4E9E-9188-E2CBE63CFBC5}" dt="2024-08-20T10:16:03.305" v="425" actId="478"/>
          <ac:spMkLst>
            <pc:docMk/>
            <pc:sldMk cId="2130798597" sldId="2147478415"/>
            <ac:spMk id="4" creationId="{F8379840-883A-C9AF-A494-A6ABB238866F}"/>
          </ac:spMkLst>
        </pc:spChg>
        <pc:spChg chg="add mod">
          <ac:chgData name="Lars Persson" userId="7f1cec89-9700-434c-88ef-862d3050ba2c" providerId="ADAL" clId="{96DC89DB-0AA9-4E9E-9188-E2CBE63CFBC5}" dt="2024-08-20T10:17:23.860" v="491" actId="1037"/>
          <ac:spMkLst>
            <pc:docMk/>
            <pc:sldMk cId="2130798597" sldId="2147478415"/>
            <ac:spMk id="7" creationId="{6DDB62A6-FA76-468E-1353-C81984899F73}"/>
          </ac:spMkLst>
        </pc:spChg>
        <pc:picChg chg="mod">
          <ac:chgData name="Lars Persson" userId="7f1cec89-9700-434c-88ef-862d3050ba2c" providerId="ADAL" clId="{96DC89DB-0AA9-4E9E-9188-E2CBE63CFBC5}" dt="2024-08-20T10:17:15.786" v="465" actId="14100"/>
          <ac:picMkLst>
            <pc:docMk/>
            <pc:sldMk cId="2130798597" sldId="2147478415"/>
            <ac:picMk id="5" creationId="{7A76B8D0-A791-CB90-DBDE-EAE6899314CE}"/>
          </ac:picMkLst>
        </pc:picChg>
        <pc:picChg chg="mod">
          <ac:chgData name="Lars Persson" userId="7f1cec89-9700-434c-88ef-862d3050ba2c" providerId="ADAL" clId="{96DC89DB-0AA9-4E9E-9188-E2CBE63CFBC5}" dt="2024-08-20T10:16:21.330" v="458" actId="1037"/>
          <ac:picMkLst>
            <pc:docMk/>
            <pc:sldMk cId="2130798597" sldId="2147478415"/>
            <ac:picMk id="6" creationId="{CFC1F652-3EC6-0554-9456-BC6AF1D72764}"/>
          </ac:picMkLst>
        </pc:picChg>
      </pc:sldChg>
    </pc:docChg>
  </pc:docChgLst>
  <pc:docChgLst>
    <pc:chgData name="Malin Hasselmalm" userId="beb2380e-0721-4cb3-bb34-80e74a3c34e8" providerId="ADAL" clId="{D82C9268-C5FE-45F7-A076-07B71EFEC19A}"/>
    <pc:docChg chg="undo custSel modSld">
      <pc:chgData name="Malin Hasselmalm" userId="beb2380e-0721-4cb3-bb34-80e74a3c34e8" providerId="ADAL" clId="{D82C9268-C5FE-45F7-A076-07B71EFEC19A}" dt="2024-08-15T12:08:22.500" v="243" actId="27636"/>
      <pc:docMkLst>
        <pc:docMk/>
      </pc:docMkLst>
      <pc:sldChg chg="modSp mod">
        <pc:chgData name="Malin Hasselmalm" userId="beb2380e-0721-4cb3-bb34-80e74a3c34e8" providerId="ADAL" clId="{D82C9268-C5FE-45F7-A076-07B71EFEC19A}" dt="2024-08-15T08:07:01.389" v="12" actId="404"/>
        <pc:sldMkLst>
          <pc:docMk/>
          <pc:sldMk cId="1462300153" sldId="257"/>
        </pc:sldMkLst>
        <pc:spChg chg="mod">
          <ac:chgData name="Malin Hasselmalm" userId="beb2380e-0721-4cb3-bb34-80e74a3c34e8" providerId="ADAL" clId="{D82C9268-C5FE-45F7-A076-07B71EFEC19A}" dt="2024-08-15T08:07:01.389" v="12" actId="404"/>
          <ac:spMkLst>
            <pc:docMk/>
            <pc:sldMk cId="1462300153" sldId="257"/>
            <ac:spMk id="2" creationId="{0DF6C76E-AC05-C796-091A-6A7A8C17B801}"/>
          </ac:spMkLst>
        </pc:spChg>
        <pc:spChg chg="mod">
          <ac:chgData name="Malin Hasselmalm" userId="beb2380e-0721-4cb3-bb34-80e74a3c34e8" providerId="ADAL" clId="{D82C9268-C5FE-45F7-A076-07B71EFEC19A}" dt="2024-08-15T08:06:38.716" v="9" actId="20577"/>
          <ac:spMkLst>
            <pc:docMk/>
            <pc:sldMk cId="1462300153" sldId="257"/>
            <ac:spMk id="3" creationId="{4D22915F-2708-08F7-23F0-9779168270B2}"/>
          </ac:spMkLst>
        </pc:spChg>
      </pc:sldChg>
      <pc:sldChg chg="modSp mod">
        <pc:chgData name="Malin Hasselmalm" userId="beb2380e-0721-4cb3-bb34-80e74a3c34e8" providerId="ADAL" clId="{D82C9268-C5FE-45F7-A076-07B71EFEC19A}" dt="2024-08-15T09:15:50.739" v="122" actId="20577"/>
        <pc:sldMkLst>
          <pc:docMk/>
          <pc:sldMk cId="2220633746" sldId="307"/>
        </pc:sldMkLst>
        <pc:spChg chg="mod">
          <ac:chgData name="Malin Hasselmalm" userId="beb2380e-0721-4cb3-bb34-80e74a3c34e8" providerId="ADAL" clId="{D82C9268-C5FE-45F7-A076-07B71EFEC19A}" dt="2024-08-15T09:15:50.739" v="122" actId="20577"/>
          <ac:spMkLst>
            <pc:docMk/>
            <pc:sldMk cId="2220633746" sldId="307"/>
            <ac:spMk id="14" creationId="{6C297C6D-D407-B064-4570-D499BF07E737}"/>
          </ac:spMkLst>
        </pc:spChg>
      </pc:sldChg>
      <pc:sldChg chg="modSp mod">
        <pc:chgData name="Malin Hasselmalm" userId="beb2380e-0721-4cb3-bb34-80e74a3c34e8" providerId="ADAL" clId="{D82C9268-C5FE-45F7-A076-07B71EFEC19A}" dt="2024-08-15T08:17:38.472" v="32" actId="33524"/>
        <pc:sldMkLst>
          <pc:docMk/>
          <pc:sldMk cId="273946975" sldId="313"/>
        </pc:sldMkLst>
        <pc:spChg chg="mod">
          <ac:chgData name="Malin Hasselmalm" userId="beb2380e-0721-4cb3-bb34-80e74a3c34e8" providerId="ADAL" clId="{D82C9268-C5FE-45F7-A076-07B71EFEC19A}" dt="2024-08-15T08:17:18.275" v="30" actId="6549"/>
          <ac:spMkLst>
            <pc:docMk/>
            <pc:sldMk cId="273946975" sldId="313"/>
            <ac:spMk id="4" creationId="{D925FE30-268B-01D8-6737-F184E0F2A18D}"/>
          </ac:spMkLst>
        </pc:spChg>
        <pc:spChg chg="mod">
          <ac:chgData name="Malin Hasselmalm" userId="beb2380e-0721-4cb3-bb34-80e74a3c34e8" providerId="ADAL" clId="{D82C9268-C5FE-45F7-A076-07B71EFEC19A}" dt="2024-08-15T08:17:38.472" v="32" actId="33524"/>
          <ac:spMkLst>
            <pc:docMk/>
            <pc:sldMk cId="273946975" sldId="313"/>
            <ac:spMk id="115" creationId="{309EE595-5E82-5A03-F8CF-F3A5074FFFAA}"/>
          </ac:spMkLst>
        </pc:spChg>
      </pc:sldChg>
      <pc:sldChg chg="modSp mod">
        <pc:chgData name="Malin Hasselmalm" userId="beb2380e-0721-4cb3-bb34-80e74a3c34e8" providerId="ADAL" clId="{D82C9268-C5FE-45F7-A076-07B71EFEC19A}" dt="2024-08-15T09:16:22.570" v="126" actId="113"/>
        <pc:sldMkLst>
          <pc:docMk/>
          <pc:sldMk cId="2227258721" sldId="326"/>
        </pc:sldMkLst>
        <pc:spChg chg="mod">
          <ac:chgData name="Malin Hasselmalm" userId="beb2380e-0721-4cb3-bb34-80e74a3c34e8" providerId="ADAL" clId="{D82C9268-C5FE-45F7-A076-07B71EFEC19A}" dt="2024-08-15T09:16:22.570" v="126" actId="113"/>
          <ac:spMkLst>
            <pc:docMk/>
            <pc:sldMk cId="2227258721" sldId="326"/>
            <ac:spMk id="2" creationId="{C14F559F-0E81-546C-3434-AF885B8D761A}"/>
          </ac:spMkLst>
        </pc:spChg>
      </pc:sldChg>
      <pc:sldChg chg="addSp delSp modSp mod modClrScheme chgLayout">
        <pc:chgData name="Malin Hasselmalm" userId="beb2380e-0721-4cb3-bb34-80e74a3c34e8" providerId="ADAL" clId="{D82C9268-C5FE-45F7-A076-07B71EFEC19A}" dt="2024-08-15T12:06:13" v="198" actId="20577"/>
        <pc:sldMkLst>
          <pc:docMk/>
          <pc:sldMk cId="1144761144" sldId="338"/>
        </pc:sldMkLst>
        <pc:spChg chg="del mod">
          <ac:chgData name="Malin Hasselmalm" userId="beb2380e-0721-4cb3-bb34-80e74a3c34e8" providerId="ADAL" clId="{D82C9268-C5FE-45F7-A076-07B71EFEC19A}" dt="2024-08-15T12:05:49.999" v="175"/>
          <ac:spMkLst>
            <pc:docMk/>
            <pc:sldMk cId="1144761144" sldId="338"/>
            <ac:spMk id="2" creationId="{D9EE208F-1FB3-3E60-67C3-1E928FDF069F}"/>
          </ac:spMkLst>
        </pc:spChg>
        <pc:spChg chg="add mod ord">
          <ac:chgData name="Malin Hasselmalm" userId="beb2380e-0721-4cb3-bb34-80e74a3c34e8" providerId="ADAL" clId="{D82C9268-C5FE-45F7-A076-07B71EFEC19A}" dt="2024-08-15T12:06:13" v="198" actId="20577"/>
          <ac:spMkLst>
            <pc:docMk/>
            <pc:sldMk cId="1144761144" sldId="338"/>
            <ac:spMk id="3" creationId="{F9312188-29C9-3BCD-63D0-AC7170E73C82}"/>
          </ac:spMkLst>
        </pc:spChg>
        <pc:spChg chg="add mod ord">
          <ac:chgData name="Malin Hasselmalm" userId="beb2380e-0721-4cb3-bb34-80e74a3c34e8" providerId="ADAL" clId="{D82C9268-C5FE-45F7-A076-07B71EFEC19A}" dt="2024-08-15T12:05:34.736" v="130" actId="27636"/>
          <ac:spMkLst>
            <pc:docMk/>
            <pc:sldMk cId="1144761144" sldId="338"/>
            <ac:spMk id="4" creationId="{A2A21617-1AD2-DE6B-C2E7-592E7983C769}"/>
          </ac:spMkLst>
        </pc:spChg>
        <pc:spChg chg="del">
          <ac:chgData name="Malin Hasselmalm" userId="beb2380e-0721-4cb3-bb34-80e74a3c34e8" providerId="ADAL" clId="{D82C9268-C5FE-45F7-A076-07B71EFEC19A}" dt="2024-08-15T12:05:49.999" v="173" actId="478"/>
          <ac:spMkLst>
            <pc:docMk/>
            <pc:sldMk cId="1144761144" sldId="338"/>
            <ac:spMk id="7" creationId="{D005AFD3-77F1-4820-45B2-C214E894EC54}"/>
          </ac:spMkLst>
        </pc:spChg>
      </pc:sldChg>
      <pc:sldChg chg="modSp mod modClrScheme chgLayout">
        <pc:chgData name="Malin Hasselmalm" userId="beb2380e-0721-4cb3-bb34-80e74a3c34e8" providerId="ADAL" clId="{D82C9268-C5FE-45F7-A076-07B71EFEC19A}" dt="2024-08-15T12:08:22.500" v="243" actId="27636"/>
        <pc:sldMkLst>
          <pc:docMk/>
          <pc:sldMk cId="3623948385" sldId="339"/>
        </pc:sldMkLst>
        <pc:spChg chg="mod ord">
          <ac:chgData name="Malin Hasselmalm" userId="beb2380e-0721-4cb3-bb34-80e74a3c34e8" providerId="ADAL" clId="{D82C9268-C5FE-45F7-A076-07B71EFEC19A}" dt="2024-08-15T12:08:22.500" v="243" actId="27636"/>
          <ac:spMkLst>
            <pc:docMk/>
            <pc:sldMk cId="3623948385" sldId="339"/>
            <ac:spMk id="3" creationId="{E3A94597-1045-2D98-4FF6-9875B807EBB3}"/>
          </ac:spMkLst>
        </pc:spChg>
        <pc:spChg chg="mod ord">
          <ac:chgData name="Malin Hasselmalm" userId="beb2380e-0721-4cb3-bb34-80e74a3c34e8" providerId="ADAL" clId="{D82C9268-C5FE-45F7-A076-07B71EFEC19A}" dt="2024-08-15T12:08:14.920" v="238" actId="700"/>
          <ac:spMkLst>
            <pc:docMk/>
            <pc:sldMk cId="3623948385" sldId="339"/>
            <ac:spMk id="4" creationId="{ECDF387A-ACAF-D835-E4E0-45C1A8E1AECF}"/>
          </ac:spMkLst>
        </pc:spChg>
      </pc:sldChg>
      <pc:sldChg chg="addSp delSp modSp mod modClrScheme chgLayout">
        <pc:chgData name="Malin Hasselmalm" userId="beb2380e-0721-4cb3-bb34-80e74a3c34e8" providerId="ADAL" clId="{D82C9268-C5FE-45F7-A076-07B71EFEC19A}" dt="2024-08-15T09:00:12.593" v="65" actId="20577"/>
        <pc:sldMkLst>
          <pc:docMk/>
          <pc:sldMk cId="3500986548" sldId="345"/>
        </pc:sldMkLst>
        <pc:spChg chg="mod ord">
          <ac:chgData name="Malin Hasselmalm" userId="beb2380e-0721-4cb3-bb34-80e74a3c34e8" providerId="ADAL" clId="{D82C9268-C5FE-45F7-A076-07B71EFEC19A}" dt="2024-08-15T08:59:51.783" v="57" actId="6549"/>
          <ac:spMkLst>
            <pc:docMk/>
            <pc:sldMk cId="3500986548" sldId="345"/>
            <ac:spMk id="2" creationId="{7BCF7F5A-A860-44AE-6426-FB8C0FF3CD31}"/>
          </ac:spMkLst>
        </pc:spChg>
        <pc:spChg chg="add del mod ord">
          <ac:chgData name="Malin Hasselmalm" userId="beb2380e-0721-4cb3-bb34-80e74a3c34e8" providerId="ADAL" clId="{D82C9268-C5FE-45F7-A076-07B71EFEC19A}" dt="2024-08-15T08:59:27.880" v="54" actId="700"/>
          <ac:spMkLst>
            <pc:docMk/>
            <pc:sldMk cId="3500986548" sldId="345"/>
            <ac:spMk id="3" creationId="{BFCBA153-43F1-5B3E-1B1F-DB7012DFEF54}"/>
          </ac:spMkLst>
        </pc:spChg>
        <pc:spChg chg="add mod ord">
          <ac:chgData name="Malin Hasselmalm" userId="beb2380e-0721-4cb3-bb34-80e74a3c34e8" providerId="ADAL" clId="{D82C9268-C5FE-45F7-A076-07B71EFEC19A}" dt="2024-08-15T09:00:12.593" v="65" actId="20577"/>
          <ac:spMkLst>
            <pc:docMk/>
            <pc:sldMk cId="3500986548" sldId="345"/>
            <ac:spMk id="4" creationId="{12AB3A9C-5080-3541-991C-F0EB7D9F1E19}"/>
          </ac:spMkLst>
        </pc:spChg>
      </pc:sldChg>
      <pc:sldChg chg="modSp mod modClrScheme chgLayout">
        <pc:chgData name="Malin Hasselmalm" userId="beb2380e-0721-4cb3-bb34-80e74a3c34e8" providerId="ADAL" clId="{D82C9268-C5FE-45F7-A076-07B71EFEC19A}" dt="2024-08-15T12:08:05.456" v="237" actId="14100"/>
        <pc:sldMkLst>
          <pc:docMk/>
          <pc:sldMk cId="2864544690" sldId="2147472122"/>
        </pc:sldMkLst>
        <pc:spChg chg="mod ord">
          <ac:chgData name="Malin Hasselmalm" userId="beb2380e-0721-4cb3-bb34-80e74a3c34e8" providerId="ADAL" clId="{D82C9268-C5FE-45F7-A076-07B71EFEC19A}" dt="2024-08-15T12:08:00.370" v="236" actId="700"/>
          <ac:spMkLst>
            <pc:docMk/>
            <pc:sldMk cId="2864544690" sldId="2147472122"/>
            <ac:spMk id="2" creationId="{14BF2B7D-9E5A-FE05-1D13-620EEB9432FB}"/>
          </ac:spMkLst>
        </pc:spChg>
        <pc:spChg chg="mod ord">
          <ac:chgData name="Malin Hasselmalm" userId="beb2380e-0721-4cb3-bb34-80e74a3c34e8" providerId="ADAL" clId="{D82C9268-C5FE-45F7-A076-07B71EFEC19A}" dt="2024-08-15T12:08:05.456" v="237" actId="14100"/>
          <ac:spMkLst>
            <pc:docMk/>
            <pc:sldMk cId="2864544690" sldId="2147472122"/>
            <ac:spMk id="3" creationId="{1BAF0F2D-DBA1-5465-650C-ADF457C37C08}"/>
          </ac:spMkLst>
        </pc:spChg>
      </pc:sldChg>
      <pc:sldChg chg="modSp mod">
        <pc:chgData name="Malin Hasselmalm" userId="beb2380e-0721-4cb3-bb34-80e74a3c34e8" providerId="ADAL" clId="{D82C9268-C5FE-45F7-A076-07B71EFEC19A}" dt="2024-08-15T09:16:11.016" v="124" actId="20577"/>
        <pc:sldMkLst>
          <pc:docMk/>
          <pc:sldMk cId="1254722030" sldId="2147478383"/>
        </pc:sldMkLst>
        <pc:spChg chg="mod">
          <ac:chgData name="Malin Hasselmalm" userId="beb2380e-0721-4cb3-bb34-80e74a3c34e8" providerId="ADAL" clId="{D82C9268-C5FE-45F7-A076-07B71EFEC19A}" dt="2024-08-15T09:16:11.016" v="124" actId="20577"/>
          <ac:spMkLst>
            <pc:docMk/>
            <pc:sldMk cId="1254722030" sldId="2147478383"/>
            <ac:spMk id="5" creationId="{525E6027-AE50-F3FE-E160-AE34441BCD2C}"/>
          </ac:spMkLst>
        </pc:spChg>
      </pc:sldChg>
      <pc:sldChg chg="modSp mod">
        <pc:chgData name="Malin Hasselmalm" userId="beb2380e-0721-4cb3-bb34-80e74a3c34e8" providerId="ADAL" clId="{D82C9268-C5FE-45F7-A076-07B71EFEC19A}" dt="2024-08-15T08:26:40.928" v="37" actId="20577"/>
        <pc:sldMkLst>
          <pc:docMk/>
          <pc:sldMk cId="1871422701" sldId="2147478390"/>
        </pc:sldMkLst>
        <pc:spChg chg="mod">
          <ac:chgData name="Malin Hasselmalm" userId="beb2380e-0721-4cb3-bb34-80e74a3c34e8" providerId="ADAL" clId="{D82C9268-C5FE-45F7-A076-07B71EFEC19A}" dt="2024-08-15T08:26:40.928" v="37" actId="20577"/>
          <ac:spMkLst>
            <pc:docMk/>
            <pc:sldMk cId="1871422701" sldId="2147478390"/>
            <ac:spMk id="5" creationId="{BA349ABD-36EE-ABF4-25D0-1BCF00F11178}"/>
          </ac:spMkLst>
        </pc:spChg>
      </pc:sldChg>
      <pc:sldChg chg="modSp mod">
        <pc:chgData name="Malin Hasselmalm" userId="beb2380e-0721-4cb3-bb34-80e74a3c34e8" providerId="ADAL" clId="{D82C9268-C5FE-45F7-A076-07B71EFEC19A}" dt="2024-08-15T12:06:25.010" v="231" actId="20577"/>
        <pc:sldMkLst>
          <pc:docMk/>
          <pc:sldMk cId="16580982" sldId="2147478396"/>
        </pc:sldMkLst>
        <pc:spChg chg="mod">
          <ac:chgData name="Malin Hasselmalm" userId="beb2380e-0721-4cb3-bb34-80e74a3c34e8" providerId="ADAL" clId="{D82C9268-C5FE-45F7-A076-07B71EFEC19A}" dt="2024-08-15T12:06:25.010" v="231" actId="20577"/>
          <ac:spMkLst>
            <pc:docMk/>
            <pc:sldMk cId="16580982" sldId="2147478396"/>
            <ac:spMk id="6" creationId="{3B0C3E0F-7CAE-15E1-5D78-B8DA30569244}"/>
          </ac:spMkLst>
        </pc:spChg>
        <pc:spChg chg="mod">
          <ac:chgData name="Malin Hasselmalm" userId="beb2380e-0721-4cb3-bb34-80e74a3c34e8" providerId="ADAL" clId="{D82C9268-C5FE-45F7-A076-07B71EFEC19A}" dt="2024-08-15T09:09:42.156" v="98" actId="20577"/>
          <ac:spMkLst>
            <pc:docMk/>
            <pc:sldMk cId="16580982" sldId="2147478396"/>
            <ac:spMk id="7" creationId="{17493462-4999-4255-2F2A-726913C5371B}"/>
          </ac:spMkLst>
        </pc:spChg>
      </pc:sldChg>
      <pc:sldChg chg="modSp mod">
        <pc:chgData name="Malin Hasselmalm" userId="beb2380e-0721-4cb3-bb34-80e74a3c34e8" providerId="ADAL" clId="{D82C9268-C5FE-45F7-A076-07B71EFEC19A}" dt="2024-08-15T08:11:56.053" v="29" actId="12"/>
        <pc:sldMkLst>
          <pc:docMk/>
          <pc:sldMk cId="1361013547" sldId="2147478402"/>
        </pc:sldMkLst>
        <pc:spChg chg="mod">
          <ac:chgData name="Malin Hasselmalm" userId="beb2380e-0721-4cb3-bb34-80e74a3c34e8" providerId="ADAL" clId="{D82C9268-C5FE-45F7-A076-07B71EFEC19A}" dt="2024-08-15T08:11:42.417" v="28" actId="688"/>
          <ac:spMkLst>
            <pc:docMk/>
            <pc:sldMk cId="1361013547" sldId="2147478402"/>
            <ac:spMk id="2" creationId="{E1459134-FA11-D217-16A5-1FE912CA33B3}"/>
          </ac:spMkLst>
        </pc:spChg>
        <pc:spChg chg="mod">
          <ac:chgData name="Malin Hasselmalm" userId="beb2380e-0721-4cb3-bb34-80e74a3c34e8" providerId="ADAL" clId="{D82C9268-C5FE-45F7-A076-07B71EFEC19A}" dt="2024-08-15T08:11:56.053" v="29" actId="12"/>
          <ac:spMkLst>
            <pc:docMk/>
            <pc:sldMk cId="1361013547" sldId="2147478402"/>
            <ac:spMk id="11" creationId="{53408FC6-2439-A6D1-E8C8-5C11C427C1B9}"/>
          </ac:spMkLst>
        </pc:spChg>
      </pc:sldChg>
      <pc:sldChg chg="modSp mod">
        <pc:chgData name="Malin Hasselmalm" userId="beb2380e-0721-4cb3-bb34-80e74a3c34e8" providerId="ADAL" clId="{D82C9268-C5FE-45F7-A076-07B71EFEC19A}" dt="2024-08-15T08:11:04.117" v="26" actId="14100"/>
        <pc:sldMkLst>
          <pc:docMk/>
          <pc:sldMk cId="2807281666" sldId="2147478406"/>
        </pc:sldMkLst>
        <pc:spChg chg="mod">
          <ac:chgData name="Malin Hasselmalm" userId="beb2380e-0721-4cb3-bb34-80e74a3c34e8" providerId="ADAL" clId="{D82C9268-C5FE-45F7-A076-07B71EFEC19A}" dt="2024-08-15T08:11:04.117" v="26" actId="14100"/>
          <ac:spMkLst>
            <pc:docMk/>
            <pc:sldMk cId="2807281666" sldId="2147478406"/>
            <ac:spMk id="5" creationId="{07C84C5A-969C-651C-40C1-CC701195FB76}"/>
          </ac:spMkLst>
        </pc:spChg>
      </pc:sldChg>
      <pc:sldChg chg="modSp mod">
        <pc:chgData name="Malin Hasselmalm" userId="beb2380e-0721-4cb3-bb34-80e74a3c34e8" providerId="ADAL" clId="{D82C9268-C5FE-45F7-A076-07B71EFEC19A}" dt="2024-08-15T08:26:06.517" v="33" actId="12"/>
        <pc:sldMkLst>
          <pc:docMk/>
          <pc:sldMk cId="2310578694" sldId="2147478407"/>
        </pc:sldMkLst>
        <pc:spChg chg="mod">
          <ac:chgData name="Malin Hasselmalm" userId="beb2380e-0721-4cb3-bb34-80e74a3c34e8" providerId="ADAL" clId="{D82C9268-C5FE-45F7-A076-07B71EFEC19A}" dt="2024-08-15T08:26:06.517" v="33" actId="12"/>
          <ac:spMkLst>
            <pc:docMk/>
            <pc:sldMk cId="2310578694" sldId="2147478407"/>
            <ac:spMk id="2" creationId="{F0451400-5CE2-7A52-00E2-4A6C20487420}"/>
          </ac:spMkLst>
        </pc:spChg>
      </pc:sldChg>
      <pc:sldChg chg="modSp mod">
        <pc:chgData name="Malin Hasselmalm" userId="beb2380e-0721-4cb3-bb34-80e74a3c34e8" providerId="ADAL" clId="{D82C9268-C5FE-45F7-A076-07B71EFEC19A}" dt="2024-08-15T08:07:55.761" v="25" actId="404"/>
        <pc:sldMkLst>
          <pc:docMk/>
          <pc:sldMk cId="371669498" sldId="2147478411"/>
        </pc:sldMkLst>
        <pc:graphicFrameChg chg="mod modGraphic">
          <ac:chgData name="Malin Hasselmalm" userId="beb2380e-0721-4cb3-bb34-80e74a3c34e8" providerId="ADAL" clId="{D82C9268-C5FE-45F7-A076-07B71EFEC19A}" dt="2024-08-15T08:07:55.761" v="25" actId="404"/>
          <ac:graphicFrameMkLst>
            <pc:docMk/>
            <pc:sldMk cId="371669498" sldId="2147478411"/>
            <ac:graphicFrameMk id="5" creationId="{D30ED36A-D4FC-76E5-EA20-D6CE533DDF13}"/>
          </ac:graphicFrameMkLst>
        </pc:graphicFrameChg>
      </pc:sldChg>
    </pc:docChg>
  </pc:docChgLst>
  <pc:docChgLst>
    <pc:chgData name="Lena Kjellberg" userId="0a55da49-65dd-4657-9325-8f0f8fe3ac44" providerId="ADAL" clId="{CFD11730-9FFC-4BF8-99E9-599309C9152F}"/>
    <pc:docChg chg="undo custSel modSld delMainMaster">
      <pc:chgData name="Lena Kjellberg" userId="0a55da49-65dd-4657-9325-8f0f8fe3ac44" providerId="ADAL" clId="{CFD11730-9FFC-4BF8-99E9-599309C9152F}" dt="2024-08-20T10:06:34.250" v="115"/>
      <pc:docMkLst>
        <pc:docMk/>
      </pc:docMkLst>
      <pc:sldChg chg="modSp mod modClrScheme chgLayout">
        <pc:chgData name="Lena Kjellberg" userId="0a55da49-65dd-4657-9325-8f0f8fe3ac44" providerId="ADAL" clId="{CFD11730-9FFC-4BF8-99E9-599309C9152F}" dt="2024-08-20T09:35:39.124" v="8" actId="404"/>
        <pc:sldMkLst>
          <pc:docMk/>
          <pc:sldMk cId="1462300153" sldId="257"/>
        </pc:sldMkLst>
        <pc:spChg chg="mod ord">
          <ac:chgData name="Lena Kjellberg" userId="0a55da49-65dd-4657-9325-8f0f8fe3ac44" providerId="ADAL" clId="{CFD11730-9FFC-4BF8-99E9-599309C9152F}" dt="2024-08-20T09:35:39.124" v="8" actId="404"/>
          <ac:spMkLst>
            <pc:docMk/>
            <pc:sldMk cId="1462300153" sldId="257"/>
            <ac:spMk id="2" creationId="{0DF6C76E-AC05-C796-091A-6A7A8C17B801}"/>
          </ac:spMkLst>
        </pc:spChg>
        <pc:spChg chg="mod ord">
          <ac:chgData name="Lena Kjellberg" userId="0a55da49-65dd-4657-9325-8f0f8fe3ac44" providerId="ADAL" clId="{CFD11730-9FFC-4BF8-99E9-599309C9152F}" dt="2024-08-20T09:35:25.513" v="5" actId="404"/>
          <ac:spMkLst>
            <pc:docMk/>
            <pc:sldMk cId="1462300153" sldId="257"/>
            <ac:spMk id="3" creationId="{4D22915F-2708-08F7-23F0-9779168270B2}"/>
          </ac:spMkLst>
        </pc:spChg>
      </pc:sldChg>
      <pc:sldChg chg="modSp mod chgLayout">
        <pc:chgData name="Lena Kjellberg" userId="0a55da49-65dd-4657-9325-8f0f8fe3ac44" providerId="ADAL" clId="{CFD11730-9FFC-4BF8-99E9-599309C9152F}" dt="2024-08-20T10:06:11.642" v="113" actId="700"/>
        <pc:sldMkLst>
          <pc:docMk/>
          <pc:sldMk cId="2220633746" sldId="307"/>
        </pc:sldMkLst>
        <pc:spChg chg="mod ord">
          <ac:chgData name="Lena Kjellberg" userId="0a55da49-65dd-4657-9325-8f0f8fe3ac44" providerId="ADAL" clId="{CFD11730-9FFC-4BF8-99E9-599309C9152F}" dt="2024-08-20T10:06:11.642" v="113" actId="700"/>
          <ac:spMkLst>
            <pc:docMk/>
            <pc:sldMk cId="2220633746" sldId="307"/>
            <ac:spMk id="3" creationId="{E3A94597-1045-2D98-4FF6-9875B807EBB3}"/>
          </ac:spMkLst>
        </pc:spChg>
        <pc:spChg chg="mod ord">
          <ac:chgData name="Lena Kjellberg" userId="0a55da49-65dd-4657-9325-8f0f8fe3ac44" providerId="ADAL" clId="{CFD11730-9FFC-4BF8-99E9-599309C9152F}" dt="2024-08-20T10:06:11.642" v="113" actId="700"/>
          <ac:spMkLst>
            <pc:docMk/>
            <pc:sldMk cId="2220633746" sldId="307"/>
            <ac:spMk id="4" creationId="{ECDF387A-ACAF-D835-E4E0-45C1A8E1AECF}"/>
          </ac:spMkLst>
        </pc:spChg>
      </pc:sldChg>
      <pc:sldChg chg="modSp">
        <pc:chgData name="Lena Kjellberg" userId="0a55da49-65dd-4657-9325-8f0f8fe3ac44" providerId="ADAL" clId="{CFD11730-9FFC-4BF8-99E9-599309C9152F}" dt="2024-08-20T10:05:39.661" v="111"/>
        <pc:sldMkLst>
          <pc:docMk/>
          <pc:sldMk cId="1144761144" sldId="338"/>
        </pc:sldMkLst>
        <pc:spChg chg="mod">
          <ac:chgData name="Lena Kjellberg" userId="0a55da49-65dd-4657-9325-8f0f8fe3ac44" providerId="ADAL" clId="{CFD11730-9FFC-4BF8-99E9-599309C9152F}" dt="2024-08-20T10:05:39.661" v="111"/>
          <ac:spMkLst>
            <pc:docMk/>
            <pc:sldMk cId="1144761144" sldId="338"/>
            <ac:spMk id="3" creationId="{F9312188-29C9-3BCD-63D0-AC7170E73C82}"/>
          </ac:spMkLst>
        </pc:spChg>
      </pc:sldChg>
      <pc:sldChg chg="modSp mod modClrScheme chgLayout">
        <pc:chgData name="Lena Kjellberg" userId="0a55da49-65dd-4657-9325-8f0f8fe3ac44" providerId="ADAL" clId="{CFD11730-9FFC-4BF8-99E9-599309C9152F}" dt="2024-08-20T10:03:52.171" v="97"/>
        <pc:sldMkLst>
          <pc:docMk/>
          <pc:sldMk cId="3500986548" sldId="345"/>
        </pc:sldMkLst>
        <pc:spChg chg="mod ord">
          <ac:chgData name="Lena Kjellberg" userId="0a55da49-65dd-4657-9325-8f0f8fe3ac44" providerId="ADAL" clId="{CFD11730-9FFC-4BF8-99E9-599309C9152F}" dt="2024-08-20T10:03:52.171" v="97"/>
          <ac:spMkLst>
            <pc:docMk/>
            <pc:sldMk cId="3500986548" sldId="345"/>
            <ac:spMk id="2" creationId="{7BCF7F5A-A860-44AE-6426-FB8C0FF3CD31}"/>
          </ac:spMkLst>
        </pc:spChg>
        <pc:spChg chg="mod ord">
          <ac:chgData name="Lena Kjellberg" userId="0a55da49-65dd-4657-9325-8f0f8fe3ac44" providerId="ADAL" clId="{CFD11730-9FFC-4BF8-99E9-599309C9152F}" dt="2024-08-20T10:03:47.509" v="96" actId="700"/>
          <ac:spMkLst>
            <pc:docMk/>
            <pc:sldMk cId="3500986548" sldId="345"/>
            <ac:spMk id="4" creationId="{12AB3A9C-5080-3541-991C-F0EB7D9F1E19}"/>
          </ac:spMkLst>
        </pc:spChg>
      </pc:sldChg>
      <pc:sldChg chg="modSp mod">
        <pc:chgData name="Lena Kjellberg" userId="0a55da49-65dd-4657-9325-8f0f8fe3ac44" providerId="ADAL" clId="{CFD11730-9FFC-4BF8-99E9-599309C9152F}" dt="2024-08-20T10:03:26.811" v="95" actId="403"/>
        <pc:sldMkLst>
          <pc:docMk/>
          <pc:sldMk cId="917362646" sldId="353"/>
        </pc:sldMkLst>
        <pc:spChg chg="mod">
          <ac:chgData name="Lena Kjellberg" userId="0a55da49-65dd-4657-9325-8f0f8fe3ac44" providerId="ADAL" clId="{CFD11730-9FFC-4BF8-99E9-599309C9152F}" dt="2024-08-20T10:03:17.731" v="93" actId="1036"/>
          <ac:spMkLst>
            <pc:docMk/>
            <pc:sldMk cId="917362646" sldId="353"/>
            <ac:spMk id="3" creationId="{AC2BDE67-193B-6688-D242-7283EB696287}"/>
          </ac:spMkLst>
        </pc:spChg>
        <pc:spChg chg="mod">
          <ac:chgData name="Lena Kjellberg" userId="0a55da49-65dd-4657-9325-8f0f8fe3ac44" providerId="ADAL" clId="{CFD11730-9FFC-4BF8-99E9-599309C9152F}" dt="2024-08-20T10:03:26.811" v="95" actId="403"/>
          <ac:spMkLst>
            <pc:docMk/>
            <pc:sldMk cId="917362646" sldId="353"/>
            <ac:spMk id="4" creationId="{E1A3F83D-7D11-3BB6-5138-3A0A000442F1}"/>
          </ac:spMkLst>
        </pc:spChg>
        <pc:spChg chg="mod">
          <ac:chgData name="Lena Kjellberg" userId="0a55da49-65dd-4657-9325-8f0f8fe3ac44" providerId="ADAL" clId="{CFD11730-9FFC-4BF8-99E9-599309C9152F}" dt="2024-08-20T10:03:17.731" v="93" actId="1036"/>
          <ac:spMkLst>
            <pc:docMk/>
            <pc:sldMk cId="917362646" sldId="353"/>
            <ac:spMk id="5" creationId="{4FA039AB-E17D-8581-F3EC-543256FBBAE0}"/>
          </ac:spMkLst>
        </pc:spChg>
        <pc:spChg chg="mod">
          <ac:chgData name="Lena Kjellberg" userId="0a55da49-65dd-4657-9325-8f0f8fe3ac44" providerId="ADAL" clId="{CFD11730-9FFC-4BF8-99E9-599309C9152F}" dt="2024-08-20T10:03:17.731" v="93" actId="1036"/>
          <ac:spMkLst>
            <pc:docMk/>
            <pc:sldMk cId="917362646" sldId="353"/>
            <ac:spMk id="11" creationId="{689B7805-7927-22FF-6CCB-8DFEE616E067}"/>
          </ac:spMkLst>
        </pc:spChg>
        <pc:spChg chg="mod">
          <ac:chgData name="Lena Kjellberg" userId="0a55da49-65dd-4657-9325-8f0f8fe3ac44" providerId="ADAL" clId="{CFD11730-9FFC-4BF8-99E9-599309C9152F}" dt="2024-08-20T10:03:17.731" v="93" actId="1036"/>
          <ac:spMkLst>
            <pc:docMk/>
            <pc:sldMk cId="917362646" sldId="353"/>
            <ac:spMk id="23" creationId="{F361E7A9-26A5-5A5E-B67D-DA6EA3D9B985}"/>
          </ac:spMkLst>
        </pc:spChg>
        <pc:spChg chg="mod">
          <ac:chgData name="Lena Kjellberg" userId="0a55da49-65dd-4657-9325-8f0f8fe3ac44" providerId="ADAL" clId="{CFD11730-9FFC-4BF8-99E9-599309C9152F}" dt="2024-08-20T10:03:17.731" v="93" actId="1036"/>
          <ac:spMkLst>
            <pc:docMk/>
            <pc:sldMk cId="917362646" sldId="353"/>
            <ac:spMk id="24" creationId="{7651C6DB-043B-D73C-F92F-0F563CA31A9F}"/>
          </ac:spMkLst>
        </pc:spChg>
        <pc:spChg chg="mod">
          <ac:chgData name="Lena Kjellberg" userId="0a55da49-65dd-4657-9325-8f0f8fe3ac44" providerId="ADAL" clId="{CFD11730-9FFC-4BF8-99E9-599309C9152F}" dt="2024-08-20T10:03:17.731" v="93" actId="1036"/>
          <ac:spMkLst>
            <pc:docMk/>
            <pc:sldMk cId="917362646" sldId="353"/>
            <ac:spMk id="26" creationId="{52897466-72D3-76F8-64F3-23A5E45EBEC3}"/>
          </ac:spMkLst>
        </pc:spChg>
        <pc:spChg chg="mod">
          <ac:chgData name="Lena Kjellberg" userId="0a55da49-65dd-4657-9325-8f0f8fe3ac44" providerId="ADAL" clId="{CFD11730-9FFC-4BF8-99E9-599309C9152F}" dt="2024-08-20T10:03:17.731" v="93" actId="1036"/>
          <ac:spMkLst>
            <pc:docMk/>
            <pc:sldMk cId="917362646" sldId="353"/>
            <ac:spMk id="27" creationId="{DC4DA157-D888-D859-59C7-24722DD93EA1}"/>
          </ac:spMkLst>
        </pc:spChg>
        <pc:spChg chg="mod">
          <ac:chgData name="Lena Kjellberg" userId="0a55da49-65dd-4657-9325-8f0f8fe3ac44" providerId="ADAL" clId="{CFD11730-9FFC-4BF8-99E9-599309C9152F}" dt="2024-08-20T10:03:17.731" v="93" actId="1036"/>
          <ac:spMkLst>
            <pc:docMk/>
            <pc:sldMk cId="917362646" sldId="353"/>
            <ac:spMk id="28" creationId="{307BC3A7-07C2-8510-8132-C210D976CEDB}"/>
          </ac:spMkLst>
        </pc:spChg>
        <pc:spChg chg="mod">
          <ac:chgData name="Lena Kjellberg" userId="0a55da49-65dd-4657-9325-8f0f8fe3ac44" providerId="ADAL" clId="{CFD11730-9FFC-4BF8-99E9-599309C9152F}" dt="2024-08-20T10:03:17.731" v="93" actId="1036"/>
          <ac:spMkLst>
            <pc:docMk/>
            <pc:sldMk cId="917362646" sldId="353"/>
            <ac:spMk id="29" creationId="{FFB5F7C6-0394-8C32-C493-8B25DA8AB4E8}"/>
          </ac:spMkLst>
        </pc:spChg>
        <pc:spChg chg="mod">
          <ac:chgData name="Lena Kjellberg" userId="0a55da49-65dd-4657-9325-8f0f8fe3ac44" providerId="ADAL" clId="{CFD11730-9FFC-4BF8-99E9-599309C9152F}" dt="2024-08-20T10:03:17.731" v="93" actId="1036"/>
          <ac:spMkLst>
            <pc:docMk/>
            <pc:sldMk cId="917362646" sldId="353"/>
            <ac:spMk id="30" creationId="{09B8AA76-4164-40F7-40B3-1B0F2B917C6C}"/>
          </ac:spMkLst>
        </pc:spChg>
        <pc:spChg chg="mod">
          <ac:chgData name="Lena Kjellberg" userId="0a55da49-65dd-4657-9325-8f0f8fe3ac44" providerId="ADAL" clId="{CFD11730-9FFC-4BF8-99E9-599309C9152F}" dt="2024-08-20T10:03:17.731" v="93" actId="1036"/>
          <ac:spMkLst>
            <pc:docMk/>
            <pc:sldMk cId="917362646" sldId="353"/>
            <ac:spMk id="31" creationId="{702A7251-A6FA-A723-21A1-1FA1889FDC4A}"/>
          </ac:spMkLst>
        </pc:spChg>
        <pc:spChg chg="mod">
          <ac:chgData name="Lena Kjellberg" userId="0a55da49-65dd-4657-9325-8f0f8fe3ac44" providerId="ADAL" clId="{CFD11730-9FFC-4BF8-99E9-599309C9152F}" dt="2024-08-20T10:03:17.731" v="93" actId="1036"/>
          <ac:spMkLst>
            <pc:docMk/>
            <pc:sldMk cId="917362646" sldId="353"/>
            <ac:spMk id="32" creationId="{335C7949-BC4A-84A7-2699-349E89A8D35A}"/>
          </ac:spMkLst>
        </pc:spChg>
        <pc:spChg chg="mod">
          <ac:chgData name="Lena Kjellberg" userId="0a55da49-65dd-4657-9325-8f0f8fe3ac44" providerId="ADAL" clId="{CFD11730-9FFC-4BF8-99E9-599309C9152F}" dt="2024-08-20T10:03:17.731" v="93" actId="1036"/>
          <ac:spMkLst>
            <pc:docMk/>
            <pc:sldMk cId="917362646" sldId="353"/>
            <ac:spMk id="33" creationId="{CA3C9E23-42FF-C38A-E98E-A6128F8F501E}"/>
          </ac:spMkLst>
        </pc:spChg>
        <pc:spChg chg="mod">
          <ac:chgData name="Lena Kjellberg" userId="0a55da49-65dd-4657-9325-8f0f8fe3ac44" providerId="ADAL" clId="{CFD11730-9FFC-4BF8-99E9-599309C9152F}" dt="2024-08-20T10:03:17.731" v="93" actId="1036"/>
          <ac:spMkLst>
            <pc:docMk/>
            <pc:sldMk cId="917362646" sldId="353"/>
            <ac:spMk id="34" creationId="{A7F79F8F-C401-D12B-CF5A-A92865C21EC7}"/>
          </ac:spMkLst>
        </pc:spChg>
        <pc:spChg chg="mod">
          <ac:chgData name="Lena Kjellberg" userId="0a55da49-65dd-4657-9325-8f0f8fe3ac44" providerId="ADAL" clId="{CFD11730-9FFC-4BF8-99E9-599309C9152F}" dt="2024-08-20T10:03:17.731" v="93" actId="1036"/>
          <ac:spMkLst>
            <pc:docMk/>
            <pc:sldMk cId="917362646" sldId="353"/>
            <ac:spMk id="35" creationId="{2D236CD9-E200-07E5-2230-FE3B362D04D3}"/>
          </ac:spMkLst>
        </pc:spChg>
        <pc:spChg chg="mod">
          <ac:chgData name="Lena Kjellberg" userId="0a55da49-65dd-4657-9325-8f0f8fe3ac44" providerId="ADAL" clId="{CFD11730-9FFC-4BF8-99E9-599309C9152F}" dt="2024-08-20T10:03:17.731" v="93" actId="1036"/>
          <ac:spMkLst>
            <pc:docMk/>
            <pc:sldMk cId="917362646" sldId="353"/>
            <ac:spMk id="36" creationId="{A918DE12-F6DB-E4D8-7838-304741513514}"/>
          </ac:spMkLst>
        </pc:spChg>
        <pc:spChg chg="mod">
          <ac:chgData name="Lena Kjellberg" userId="0a55da49-65dd-4657-9325-8f0f8fe3ac44" providerId="ADAL" clId="{CFD11730-9FFC-4BF8-99E9-599309C9152F}" dt="2024-08-20T10:03:17.731" v="93" actId="1036"/>
          <ac:spMkLst>
            <pc:docMk/>
            <pc:sldMk cId="917362646" sldId="353"/>
            <ac:spMk id="37" creationId="{BD12120E-FB11-3845-3F62-79ACF6FDEDA9}"/>
          </ac:spMkLst>
        </pc:spChg>
        <pc:spChg chg="mod">
          <ac:chgData name="Lena Kjellberg" userId="0a55da49-65dd-4657-9325-8f0f8fe3ac44" providerId="ADAL" clId="{CFD11730-9FFC-4BF8-99E9-599309C9152F}" dt="2024-08-20T10:03:17.731" v="93" actId="1036"/>
          <ac:spMkLst>
            <pc:docMk/>
            <pc:sldMk cId="917362646" sldId="353"/>
            <ac:spMk id="40" creationId="{DA05BC4F-DFE0-03F7-4D59-317FC609696F}"/>
          </ac:spMkLst>
        </pc:spChg>
        <pc:spChg chg="mod">
          <ac:chgData name="Lena Kjellberg" userId="0a55da49-65dd-4657-9325-8f0f8fe3ac44" providerId="ADAL" clId="{CFD11730-9FFC-4BF8-99E9-599309C9152F}" dt="2024-08-20T10:03:17.731" v="93" actId="1036"/>
          <ac:spMkLst>
            <pc:docMk/>
            <pc:sldMk cId="917362646" sldId="353"/>
            <ac:spMk id="42" creationId="{EC5019DC-EDBF-120B-C174-B95B0CAC0E90}"/>
          </ac:spMkLst>
        </pc:spChg>
        <pc:spChg chg="mod">
          <ac:chgData name="Lena Kjellberg" userId="0a55da49-65dd-4657-9325-8f0f8fe3ac44" providerId="ADAL" clId="{CFD11730-9FFC-4BF8-99E9-599309C9152F}" dt="2024-08-20T10:03:17.731" v="93" actId="1036"/>
          <ac:spMkLst>
            <pc:docMk/>
            <pc:sldMk cId="917362646" sldId="353"/>
            <ac:spMk id="46" creationId="{E2D2B365-749B-15BB-1C79-2CD96C1CF726}"/>
          </ac:spMkLst>
        </pc:spChg>
        <pc:spChg chg="mod">
          <ac:chgData name="Lena Kjellberg" userId="0a55da49-65dd-4657-9325-8f0f8fe3ac44" providerId="ADAL" clId="{CFD11730-9FFC-4BF8-99E9-599309C9152F}" dt="2024-08-20T10:03:17.731" v="93" actId="1036"/>
          <ac:spMkLst>
            <pc:docMk/>
            <pc:sldMk cId="917362646" sldId="353"/>
            <ac:spMk id="47" creationId="{76534F95-5EA6-921F-3462-30468C1EDCD6}"/>
          </ac:spMkLst>
        </pc:spChg>
        <pc:spChg chg="mod">
          <ac:chgData name="Lena Kjellberg" userId="0a55da49-65dd-4657-9325-8f0f8fe3ac44" providerId="ADAL" clId="{CFD11730-9FFC-4BF8-99E9-599309C9152F}" dt="2024-08-20T10:03:17.731" v="93" actId="1036"/>
          <ac:spMkLst>
            <pc:docMk/>
            <pc:sldMk cId="917362646" sldId="353"/>
            <ac:spMk id="48" creationId="{CC6D531D-C787-5239-EE89-E2B681494F17}"/>
          </ac:spMkLst>
        </pc:spChg>
        <pc:spChg chg="mod">
          <ac:chgData name="Lena Kjellberg" userId="0a55da49-65dd-4657-9325-8f0f8fe3ac44" providerId="ADAL" clId="{CFD11730-9FFC-4BF8-99E9-599309C9152F}" dt="2024-08-20T10:03:17.731" v="93" actId="1036"/>
          <ac:spMkLst>
            <pc:docMk/>
            <pc:sldMk cId="917362646" sldId="353"/>
            <ac:spMk id="49" creationId="{E33EAB7A-4370-7A21-B8B3-630137317F61}"/>
          </ac:spMkLst>
        </pc:spChg>
        <pc:spChg chg="mod">
          <ac:chgData name="Lena Kjellberg" userId="0a55da49-65dd-4657-9325-8f0f8fe3ac44" providerId="ADAL" clId="{CFD11730-9FFC-4BF8-99E9-599309C9152F}" dt="2024-08-20T10:03:17.731" v="93" actId="1036"/>
          <ac:spMkLst>
            <pc:docMk/>
            <pc:sldMk cId="917362646" sldId="353"/>
            <ac:spMk id="50" creationId="{A519F733-EAA6-8119-466D-87DC3B30C021}"/>
          </ac:spMkLst>
        </pc:spChg>
        <pc:spChg chg="mod">
          <ac:chgData name="Lena Kjellberg" userId="0a55da49-65dd-4657-9325-8f0f8fe3ac44" providerId="ADAL" clId="{CFD11730-9FFC-4BF8-99E9-599309C9152F}" dt="2024-08-20T10:03:17.731" v="93" actId="1036"/>
          <ac:spMkLst>
            <pc:docMk/>
            <pc:sldMk cId="917362646" sldId="353"/>
            <ac:spMk id="51" creationId="{2358A4BC-3574-3FE7-DF4A-C614402305EF}"/>
          </ac:spMkLst>
        </pc:spChg>
        <pc:spChg chg="mod">
          <ac:chgData name="Lena Kjellberg" userId="0a55da49-65dd-4657-9325-8f0f8fe3ac44" providerId="ADAL" clId="{CFD11730-9FFC-4BF8-99E9-599309C9152F}" dt="2024-08-20T10:03:17.731" v="93" actId="1036"/>
          <ac:spMkLst>
            <pc:docMk/>
            <pc:sldMk cId="917362646" sldId="353"/>
            <ac:spMk id="52" creationId="{C092BA72-B655-1918-CD34-715250606621}"/>
          </ac:spMkLst>
        </pc:spChg>
        <pc:spChg chg="mod">
          <ac:chgData name="Lena Kjellberg" userId="0a55da49-65dd-4657-9325-8f0f8fe3ac44" providerId="ADAL" clId="{CFD11730-9FFC-4BF8-99E9-599309C9152F}" dt="2024-08-20T10:03:17.731" v="93" actId="1036"/>
          <ac:spMkLst>
            <pc:docMk/>
            <pc:sldMk cId="917362646" sldId="353"/>
            <ac:spMk id="53" creationId="{81C45052-BAE2-44C8-E887-D08779B0087B}"/>
          </ac:spMkLst>
        </pc:spChg>
        <pc:spChg chg="mod">
          <ac:chgData name="Lena Kjellberg" userId="0a55da49-65dd-4657-9325-8f0f8fe3ac44" providerId="ADAL" clId="{CFD11730-9FFC-4BF8-99E9-599309C9152F}" dt="2024-08-20T10:03:17.731" v="93" actId="1036"/>
          <ac:spMkLst>
            <pc:docMk/>
            <pc:sldMk cId="917362646" sldId="353"/>
            <ac:spMk id="54" creationId="{B220EB02-4A8C-63C3-B4B6-F891A34031BA}"/>
          </ac:spMkLst>
        </pc:spChg>
        <pc:spChg chg="mod">
          <ac:chgData name="Lena Kjellberg" userId="0a55da49-65dd-4657-9325-8f0f8fe3ac44" providerId="ADAL" clId="{CFD11730-9FFC-4BF8-99E9-599309C9152F}" dt="2024-08-20T10:03:17.731" v="93" actId="1036"/>
          <ac:spMkLst>
            <pc:docMk/>
            <pc:sldMk cId="917362646" sldId="353"/>
            <ac:spMk id="55" creationId="{9DC459E8-9CF0-2DF7-9EC2-EAC426350A3E}"/>
          </ac:spMkLst>
        </pc:spChg>
        <pc:spChg chg="mod">
          <ac:chgData name="Lena Kjellberg" userId="0a55da49-65dd-4657-9325-8f0f8fe3ac44" providerId="ADAL" clId="{CFD11730-9FFC-4BF8-99E9-599309C9152F}" dt="2024-08-20T10:03:17.731" v="93" actId="1036"/>
          <ac:spMkLst>
            <pc:docMk/>
            <pc:sldMk cId="917362646" sldId="353"/>
            <ac:spMk id="56" creationId="{833EEA29-AE2D-82DA-C65D-76A1E4509AD4}"/>
          </ac:spMkLst>
        </pc:spChg>
        <pc:spChg chg="mod">
          <ac:chgData name="Lena Kjellberg" userId="0a55da49-65dd-4657-9325-8f0f8fe3ac44" providerId="ADAL" clId="{CFD11730-9FFC-4BF8-99E9-599309C9152F}" dt="2024-08-20T10:03:17.731" v="93" actId="1036"/>
          <ac:spMkLst>
            <pc:docMk/>
            <pc:sldMk cId="917362646" sldId="353"/>
            <ac:spMk id="57" creationId="{B3A0D312-E444-478F-F5B2-56768A2C88C4}"/>
          </ac:spMkLst>
        </pc:spChg>
        <pc:spChg chg="mod">
          <ac:chgData name="Lena Kjellberg" userId="0a55da49-65dd-4657-9325-8f0f8fe3ac44" providerId="ADAL" clId="{CFD11730-9FFC-4BF8-99E9-599309C9152F}" dt="2024-08-20T10:03:17.731" v="93" actId="1036"/>
          <ac:spMkLst>
            <pc:docMk/>
            <pc:sldMk cId="917362646" sldId="353"/>
            <ac:spMk id="58" creationId="{C1B047F2-8598-FBFA-8265-B26A87F9D964}"/>
          </ac:spMkLst>
        </pc:spChg>
        <pc:spChg chg="mod">
          <ac:chgData name="Lena Kjellberg" userId="0a55da49-65dd-4657-9325-8f0f8fe3ac44" providerId="ADAL" clId="{CFD11730-9FFC-4BF8-99E9-599309C9152F}" dt="2024-08-20T10:03:17.731" v="93" actId="1036"/>
          <ac:spMkLst>
            <pc:docMk/>
            <pc:sldMk cId="917362646" sldId="353"/>
            <ac:spMk id="59" creationId="{771F7C6D-D15D-E14C-8325-B144F1A285A5}"/>
          </ac:spMkLst>
        </pc:spChg>
        <pc:spChg chg="mod">
          <ac:chgData name="Lena Kjellberg" userId="0a55da49-65dd-4657-9325-8f0f8fe3ac44" providerId="ADAL" clId="{CFD11730-9FFC-4BF8-99E9-599309C9152F}" dt="2024-08-20T10:03:17.731" v="93" actId="1036"/>
          <ac:spMkLst>
            <pc:docMk/>
            <pc:sldMk cId="917362646" sldId="353"/>
            <ac:spMk id="61" creationId="{30DFE9BC-D8FD-0BAF-3EC3-30FA2A137C18}"/>
          </ac:spMkLst>
        </pc:spChg>
        <pc:spChg chg="mod">
          <ac:chgData name="Lena Kjellberg" userId="0a55da49-65dd-4657-9325-8f0f8fe3ac44" providerId="ADAL" clId="{CFD11730-9FFC-4BF8-99E9-599309C9152F}" dt="2024-08-20T10:03:17.731" v="93" actId="1036"/>
          <ac:spMkLst>
            <pc:docMk/>
            <pc:sldMk cId="917362646" sldId="353"/>
            <ac:spMk id="62" creationId="{0EA9CFBD-8761-3C9C-5847-297B0E8EE9FB}"/>
          </ac:spMkLst>
        </pc:spChg>
        <pc:spChg chg="mod">
          <ac:chgData name="Lena Kjellberg" userId="0a55da49-65dd-4657-9325-8f0f8fe3ac44" providerId="ADAL" clId="{CFD11730-9FFC-4BF8-99E9-599309C9152F}" dt="2024-08-20T10:03:17.731" v="93" actId="1036"/>
          <ac:spMkLst>
            <pc:docMk/>
            <pc:sldMk cId="917362646" sldId="353"/>
            <ac:spMk id="63" creationId="{8AF9042F-6D12-1583-159F-1765C33C8C5E}"/>
          </ac:spMkLst>
        </pc:spChg>
        <pc:grpChg chg="mod">
          <ac:chgData name="Lena Kjellberg" userId="0a55da49-65dd-4657-9325-8f0f8fe3ac44" providerId="ADAL" clId="{CFD11730-9FFC-4BF8-99E9-599309C9152F}" dt="2024-08-20T10:03:17.731" v="93" actId="1036"/>
          <ac:grpSpMkLst>
            <pc:docMk/>
            <pc:sldMk cId="917362646" sldId="353"/>
            <ac:grpSpMk id="21" creationId="{7275AC4E-A5FD-E559-6286-83E1C6502E0A}"/>
          </ac:grpSpMkLst>
        </pc:grpChg>
        <pc:grpChg chg="mod">
          <ac:chgData name="Lena Kjellberg" userId="0a55da49-65dd-4657-9325-8f0f8fe3ac44" providerId="ADAL" clId="{CFD11730-9FFC-4BF8-99E9-599309C9152F}" dt="2024-08-20T10:03:17.731" v="93" actId="1036"/>
          <ac:grpSpMkLst>
            <pc:docMk/>
            <pc:sldMk cId="917362646" sldId="353"/>
            <ac:grpSpMk id="41" creationId="{9D1A6804-FAEE-5C6E-0E77-BAA7168631DE}"/>
          </ac:grpSpMkLst>
        </pc:grpChg>
        <pc:picChg chg="mod">
          <ac:chgData name="Lena Kjellberg" userId="0a55da49-65dd-4657-9325-8f0f8fe3ac44" providerId="ADAL" clId="{CFD11730-9FFC-4BF8-99E9-599309C9152F}" dt="2024-08-20T10:03:17.731" v="93" actId="1036"/>
          <ac:picMkLst>
            <pc:docMk/>
            <pc:sldMk cId="917362646" sldId="353"/>
            <ac:picMk id="2" creationId="{FD13E95C-CC21-CF4B-B00F-1B1015519CA3}"/>
          </ac:picMkLst>
        </pc:picChg>
        <pc:picChg chg="mod">
          <ac:chgData name="Lena Kjellberg" userId="0a55da49-65dd-4657-9325-8f0f8fe3ac44" providerId="ADAL" clId="{CFD11730-9FFC-4BF8-99E9-599309C9152F}" dt="2024-08-20T10:03:17.731" v="93" actId="1036"/>
          <ac:picMkLst>
            <pc:docMk/>
            <pc:sldMk cId="917362646" sldId="353"/>
            <ac:picMk id="6" creationId="{D2058104-BFD0-8FC7-BC85-777FB1C954FD}"/>
          </ac:picMkLst>
        </pc:picChg>
        <pc:picChg chg="mod">
          <ac:chgData name="Lena Kjellberg" userId="0a55da49-65dd-4657-9325-8f0f8fe3ac44" providerId="ADAL" clId="{CFD11730-9FFC-4BF8-99E9-599309C9152F}" dt="2024-08-20T10:03:17.731" v="93" actId="1036"/>
          <ac:picMkLst>
            <pc:docMk/>
            <pc:sldMk cId="917362646" sldId="353"/>
            <ac:picMk id="8" creationId="{0DB71324-2B65-C2D8-9529-C8D36D909963}"/>
          </ac:picMkLst>
        </pc:picChg>
        <pc:picChg chg="mod">
          <ac:chgData name="Lena Kjellberg" userId="0a55da49-65dd-4657-9325-8f0f8fe3ac44" providerId="ADAL" clId="{CFD11730-9FFC-4BF8-99E9-599309C9152F}" dt="2024-08-20T10:03:17.731" v="93" actId="1036"/>
          <ac:picMkLst>
            <pc:docMk/>
            <pc:sldMk cId="917362646" sldId="353"/>
            <ac:picMk id="13" creationId="{242722A4-81EE-2E32-E985-950426CBA576}"/>
          </ac:picMkLst>
        </pc:picChg>
        <pc:picChg chg="mod">
          <ac:chgData name="Lena Kjellberg" userId="0a55da49-65dd-4657-9325-8f0f8fe3ac44" providerId="ADAL" clId="{CFD11730-9FFC-4BF8-99E9-599309C9152F}" dt="2024-08-20T10:03:17.731" v="93" actId="1036"/>
          <ac:picMkLst>
            <pc:docMk/>
            <pc:sldMk cId="917362646" sldId="353"/>
            <ac:picMk id="18" creationId="{FBFBF48A-3733-117C-B74F-07EC9A50780D}"/>
          </ac:picMkLst>
        </pc:picChg>
        <pc:picChg chg="mod">
          <ac:chgData name="Lena Kjellberg" userId="0a55da49-65dd-4657-9325-8f0f8fe3ac44" providerId="ADAL" clId="{CFD11730-9FFC-4BF8-99E9-599309C9152F}" dt="2024-08-20T10:03:17.731" v="93" actId="1036"/>
          <ac:picMkLst>
            <pc:docMk/>
            <pc:sldMk cId="917362646" sldId="353"/>
            <ac:picMk id="19" creationId="{FD4792C8-4764-507C-341F-01AE49170F53}"/>
          </ac:picMkLst>
        </pc:picChg>
        <pc:picChg chg="mod">
          <ac:chgData name="Lena Kjellberg" userId="0a55da49-65dd-4657-9325-8f0f8fe3ac44" providerId="ADAL" clId="{CFD11730-9FFC-4BF8-99E9-599309C9152F}" dt="2024-08-20T10:03:17.731" v="93" actId="1036"/>
          <ac:picMkLst>
            <pc:docMk/>
            <pc:sldMk cId="917362646" sldId="353"/>
            <ac:picMk id="20" creationId="{FDC00EBF-35B8-7F97-98F8-30D329AC6F87}"/>
          </ac:picMkLst>
        </pc:picChg>
        <pc:picChg chg="mod">
          <ac:chgData name="Lena Kjellberg" userId="0a55da49-65dd-4657-9325-8f0f8fe3ac44" providerId="ADAL" clId="{CFD11730-9FFC-4BF8-99E9-599309C9152F}" dt="2024-08-20T10:03:17.731" v="93" actId="1036"/>
          <ac:picMkLst>
            <pc:docMk/>
            <pc:sldMk cId="917362646" sldId="353"/>
            <ac:picMk id="22" creationId="{37B51B52-6F0D-055C-5323-84DF0111803C}"/>
          </ac:picMkLst>
        </pc:picChg>
        <pc:picChg chg="mod">
          <ac:chgData name="Lena Kjellberg" userId="0a55da49-65dd-4657-9325-8f0f8fe3ac44" providerId="ADAL" clId="{CFD11730-9FFC-4BF8-99E9-599309C9152F}" dt="2024-08-20T10:03:17.731" v="93" actId="1036"/>
          <ac:picMkLst>
            <pc:docMk/>
            <pc:sldMk cId="917362646" sldId="353"/>
            <ac:picMk id="25" creationId="{8FFF1786-8775-1D54-0708-406492305094}"/>
          </ac:picMkLst>
        </pc:picChg>
        <pc:picChg chg="mod">
          <ac:chgData name="Lena Kjellberg" userId="0a55da49-65dd-4657-9325-8f0f8fe3ac44" providerId="ADAL" clId="{CFD11730-9FFC-4BF8-99E9-599309C9152F}" dt="2024-08-20T10:03:17.731" v="93" actId="1036"/>
          <ac:picMkLst>
            <pc:docMk/>
            <pc:sldMk cId="917362646" sldId="353"/>
            <ac:picMk id="85" creationId="{EBC06041-4D04-F5FE-A534-489BC9339DAB}"/>
          </ac:picMkLst>
        </pc:picChg>
        <pc:cxnChg chg="mod">
          <ac:chgData name="Lena Kjellberg" userId="0a55da49-65dd-4657-9325-8f0f8fe3ac44" providerId="ADAL" clId="{CFD11730-9FFC-4BF8-99E9-599309C9152F}" dt="2024-08-20T10:03:17.731" v="93" actId="1036"/>
          <ac:cxnSpMkLst>
            <pc:docMk/>
            <pc:sldMk cId="917362646" sldId="353"/>
            <ac:cxnSpMk id="43" creationId="{7EE3969C-1E34-7F12-B947-387B9F295E72}"/>
          </ac:cxnSpMkLst>
        </pc:cxnChg>
        <pc:cxnChg chg="mod">
          <ac:chgData name="Lena Kjellberg" userId="0a55da49-65dd-4657-9325-8f0f8fe3ac44" providerId="ADAL" clId="{CFD11730-9FFC-4BF8-99E9-599309C9152F}" dt="2024-08-20T10:03:17.731" v="93" actId="1036"/>
          <ac:cxnSpMkLst>
            <pc:docMk/>
            <pc:sldMk cId="917362646" sldId="353"/>
            <ac:cxnSpMk id="44" creationId="{153F87D2-6032-8B56-DC1F-2894968A91C9}"/>
          </ac:cxnSpMkLst>
        </pc:cxnChg>
        <pc:cxnChg chg="mod">
          <ac:chgData name="Lena Kjellberg" userId="0a55da49-65dd-4657-9325-8f0f8fe3ac44" providerId="ADAL" clId="{CFD11730-9FFC-4BF8-99E9-599309C9152F}" dt="2024-08-20T10:03:17.731" v="93" actId="1036"/>
          <ac:cxnSpMkLst>
            <pc:docMk/>
            <pc:sldMk cId="917362646" sldId="353"/>
            <ac:cxnSpMk id="78" creationId="{DD6C2358-07DB-546B-5B19-A7E76278EDBA}"/>
          </ac:cxnSpMkLst>
        </pc:cxnChg>
        <pc:cxnChg chg="mod">
          <ac:chgData name="Lena Kjellberg" userId="0a55da49-65dd-4657-9325-8f0f8fe3ac44" providerId="ADAL" clId="{CFD11730-9FFC-4BF8-99E9-599309C9152F}" dt="2024-08-20T10:03:17.731" v="93" actId="1036"/>
          <ac:cxnSpMkLst>
            <pc:docMk/>
            <pc:sldMk cId="917362646" sldId="353"/>
            <ac:cxnSpMk id="95" creationId="{D4C9F90D-ABAA-941D-4C45-C097A9DA3701}"/>
          </ac:cxnSpMkLst>
        </pc:cxnChg>
      </pc:sldChg>
      <pc:sldChg chg="modSp">
        <pc:chgData name="Lena Kjellberg" userId="0a55da49-65dd-4657-9325-8f0f8fe3ac44" providerId="ADAL" clId="{CFD11730-9FFC-4BF8-99E9-599309C9152F}" dt="2024-08-20T10:04:05.773" v="99"/>
        <pc:sldMkLst>
          <pc:docMk/>
          <pc:sldMk cId="2864544690" sldId="2147472122"/>
        </pc:sldMkLst>
        <pc:spChg chg="mod">
          <ac:chgData name="Lena Kjellberg" userId="0a55da49-65dd-4657-9325-8f0f8fe3ac44" providerId="ADAL" clId="{CFD11730-9FFC-4BF8-99E9-599309C9152F}" dt="2024-08-20T10:04:05.773" v="99"/>
          <ac:spMkLst>
            <pc:docMk/>
            <pc:sldMk cId="2864544690" sldId="2147472122"/>
            <ac:spMk id="2" creationId="{14BF2B7D-9E5A-FE05-1D13-620EEB9432FB}"/>
          </ac:spMkLst>
        </pc:spChg>
      </pc:sldChg>
      <pc:sldChg chg="modSp mod">
        <pc:chgData name="Lena Kjellberg" userId="0a55da49-65dd-4657-9325-8f0f8fe3ac44" providerId="ADAL" clId="{CFD11730-9FFC-4BF8-99E9-599309C9152F}" dt="2024-08-20T10:01:55.639" v="51" actId="20577"/>
        <pc:sldMkLst>
          <pc:docMk/>
          <pc:sldMk cId="1871422701" sldId="2147478390"/>
        </pc:sldMkLst>
        <pc:spChg chg="mod">
          <ac:chgData name="Lena Kjellberg" userId="0a55da49-65dd-4657-9325-8f0f8fe3ac44" providerId="ADAL" clId="{CFD11730-9FFC-4BF8-99E9-599309C9152F}" dt="2024-08-20T10:01:55.639" v="51" actId="20577"/>
          <ac:spMkLst>
            <pc:docMk/>
            <pc:sldMk cId="1871422701" sldId="2147478390"/>
            <ac:spMk id="4" creationId="{8166AFFF-6DDB-9411-490C-5F2327B09045}"/>
          </ac:spMkLst>
        </pc:spChg>
      </pc:sldChg>
      <pc:sldChg chg="modSp">
        <pc:chgData name="Lena Kjellberg" userId="0a55da49-65dd-4657-9325-8f0f8fe3ac44" providerId="ADAL" clId="{CFD11730-9FFC-4BF8-99E9-599309C9152F}" dt="2024-08-20T10:04:25.987" v="101"/>
        <pc:sldMkLst>
          <pc:docMk/>
          <pc:sldMk cId="16580982" sldId="2147478396"/>
        </pc:sldMkLst>
        <pc:spChg chg="mod">
          <ac:chgData name="Lena Kjellberg" userId="0a55da49-65dd-4657-9325-8f0f8fe3ac44" providerId="ADAL" clId="{CFD11730-9FFC-4BF8-99E9-599309C9152F}" dt="2024-08-20T10:04:25.987" v="101"/>
          <ac:spMkLst>
            <pc:docMk/>
            <pc:sldMk cId="16580982" sldId="2147478396"/>
            <ac:spMk id="6" creationId="{3B0C3E0F-7CAE-15E1-5D78-B8DA30569244}"/>
          </ac:spMkLst>
        </pc:spChg>
      </pc:sldChg>
      <pc:sldChg chg="modSp mod">
        <pc:chgData name="Lena Kjellberg" userId="0a55da49-65dd-4657-9325-8f0f8fe3ac44" providerId="ADAL" clId="{CFD11730-9FFC-4BF8-99E9-599309C9152F}" dt="2024-08-20T09:40:46.251" v="28" actId="20577"/>
        <pc:sldMkLst>
          <pc:docMk/>
          <pc:sldMk cId="2681026659" sldId="2147478398"/>
        </pc:sldMkLst>
        <pc:spChg chg="mod">
          <ac:chgData name="Lena Kjellberg" userId="0a55da49-65dd-4657-9325-8f0f8fe3ac44" providerId="ADAL" clId="{CFD11730-9FFC-4BF8-99E9-599309C9152F}" dt="2024-08-20T09:40:46.251" v="28" actId="20577"/>
          <ac:spMkLst>
            <pc:docMk/>
            <pc:sldMk cId="2681026659" sldId="2147478398"/>
            <ac:spMk id="5" creationId="{07C84C5A-969C-651C-40C1-CC701195FB76}"/>
          </ac:spMkLst>
        </pc:spChg>
      </pc:sldChg>
      <pc:sldChg chg="modSp mod chgLayout">
        <pc:chgData name="Lena Kjellberg" userId="0a55da49-65dd-4657-9325-8f0f8fe3ac44" providerId="ADAL" clId="{CFD11730-9FFC-4BF8-99E9-599309C9152F}" dt="2024-08-20T10:02:09.589" v="52" actId="700"/>
        <pc:sldMkLst>
          <pc:docMk/>
          <pc:sldMk cId="1650419112" sldId="2147478399"/>
        </pc:sldMkLst>
        <pc:spChg chg="mod ord">
          <ac:chgData name="Lena Kjellberg" userId="0a55da49-65dd-4657-9325-8f0f8fe3ac44" providerId="ADAL" clId="{CFD11730-9FFC-4BF8-99E9-599309C9152F}" dt="2024-08-20T10:02:09.589" v="52" actId="700"/>
          <ac:spMkLst>
            <pc:docMk/>
            <pc:sldMk cId="1650419112" sldId="2147478399"/>
            <ac:spMk id="4" creationId="{1B49A37A-E8E8-849F-EDDE-5616F8C973FB}"/>
          </ac:spMkLst>
        </pc:spChg>
        <pc:spChg chg="mod ord">
          <ac:chgData name="Lena Kjellberg" userId="0a55da49-65dd-4657-9325-8f0f8fe3ac44" providerId="ADAL" clId="{CFD11730-9FFC-4BF8-99E9-599309C9152F}" dt="2024-08-20T10:02:09.589" v="52" actId="700"/>
          <ac:spMkLst>
            <pc:docMk/>
            <pc:sldMk cId="1650419112" sldId="2147478399"/>
            <ac:spMk id="5" creationId="{65DEE672-6C3E-E84F-DEF8-79C297345FC3}"/>
          </ac:spMkLst>
        </pc:spChg>
      </pc:sldChg>
      <pc:sldChg chg="addSp delSp modSp mod modClrScheme chgLayout">
        <pc:chgData name="Lena Kjellberg" userId="0a55da49-65dd-4657-9325-8f0f8fe3ac44" providerId="ADAL" clId="{CFD11730-9FFC-4BF8-99E9-599309C9152F}" dt="2024-08-20T10:01:17.834" v="45" actId="1076"/>
        <pc:sldMkLst>
          <pc:docMk/>
          <pc:sldMk cId="2649160507" sldId="2147478404"/>
        </pc:sldMkLst>
        <pc:spChg chg="mod ord">
          <ac:chgData name="Lena Kjellberg" userId="0a55da49-65dd-4657-9325-8f0f8fe3ac44" providerId="ADAL" clId="{CFD11730-9FFC-4BF8-99E9-599309C9152F}" dt="2024-08-20T10:01:05.183" v="43" actId="255"/>
          <ac:spMkLst>
            <pc:docMk/>
            <pc:sldMk cId="2649160507" sldId="2147478404"/>
            <ac:spMk id="2" creationId="{5F3057BB-75C0-812D-0492-7FA966CD7FDA}"/>
          </ac:spMkLst>
        </pc:spChg>
        <pc:spChg chg="add del mod ord">
          <ac:chgData name="Lena Kjellberg" userId="0a55da49-65dd-4657-9325-8f0f8fe3ac44" providerId="ADAL" clId="{CFD11730-9FFC-4BF8-99E9-599309C9152F}" dt="2024-08-20T10:01:10.172" v="44" actId="478"/>
          <ac:spMkLst>
            <pc:docMk/>
            <pc:sldMk cId="2649160507" sldId="2147478404"/>
            <ac:spMk id="3" creationId="{CE50CB93-39F9-64F4-E02F-B7252A2322FC}"/>
          </ac:spMkLst>
        </pc:spChg>
        <pc:picChg chg="mod">
          <ac:chgData name="Lena Kjellberg" userId="0a55da49-65dd-4657-9325-8f0f8fe3ac44" providerId="ADAL" clId="{CFD11730-9FFC-4BF8-99E9-599309C9152F}" dt="2024-08-20T10:01:17.834" v="45" actId="1076"/>
          <ac:picMkLst>
            <pc:docMk/>
            <pc:sldMk cId="2649160507" sldId="2147478404"/>
            <ac:picMk id="6" creationId="{67608ED4-2C33-C5B0-400E-4D86B41236C7}"/>
          </ac:picMkLst>
        </pc:picChg>
      </pc:sldChg>
      <pc:sldChg chg="modSp">
        <pc:chgData name="Lena Kjellberg" userId="0a55da49-65dd-4657-9325-8f0f8fe3ac44" providerId="ADAL" clId="{CFD11730-9FFC-4BF8-99E9-599309C9152F}" dt="2024-08-20T10:03:59.019" v="98"/>
        <pc:sldMkLst>
          <pc:docMk/>
          <pc:sldMk cId="414210311" sldId="2147478405"/>
        </pc:sldMkLst>
        <pc:spChg chg="mod">
          <ac:chgData name="Lena Kjellberg" userId="0a55da49-65dd-4657-9325-8f0f8fe3ac44" providerId="ADAL" clId="{CFD11730-9FFC-4BF8-99E9-599309C9152F}" dt="2024-08-20T10:03:59.019" v="98"/>
          <ac:spMkLst>
            <pc:docMk/>
            <pc:sldMk cId="414210311" sldId="2147478405"/>
            <ac:spMk id="3" creationId="{6FC94DAA-FB6A-67B7-3D56-DD5FA71DE95C}"/>
          </ac:spMkLst>
        </pc:spChg>
      </pc:sldChg>
      <pc:sldChg chg="modSp">
        <pc:chgData name="Lena Kjellberg" userId="0a55da49-65dd-4657-9325-8f0f8fe3ac44" providerId="ADAL" clId="{CFD11730-9FFC-4BF8-99E9-599309C9152F}" dt="2024-08-20T09:59:35.225" v="29"/>
        <pc:sldMkLst>
          <pc:docMk/>
          <pc:sldMk cId="2807281666" sldId="2147478406"/>
        </pc:sldMkLst>
        <pc:spChg chg="mod">
          <ac:chgData name="Lena Kjellberg" userId="0a55da49-65dd-4657-9325-8f0f8fe3ac44" providerId="ADAL" clId="{CFD11730-9FFC-4BF8-99E9-599309C9152F}" dt="2024-08-20T09:59:35.225" v="29"/>
          <ac:spMkLst>
            <pc:docMk/>
            <pc:sldMk cId="2807281666" sldId="2147478406"/>
            <ac:spMk id="5" creationId="{07C84C5A-969C-651C-40C1-CC701195FB76}"/>
          </ac:spMkLst>
        </pc:spChg>
      </pc:sldChg>
      <pc:sldChg chg="modSp">
        <pc:chgData name="Lena Kjellberg" userId="0a55da49-65dd-4657-9325-8f0f8fe3ac44" providerId="ADAL" clId="{CFD11730-9FFC-4BF8-99E9-599309C9152F}" dt="2024-08-20T10:01:24.696" v="46"/>
        <pc:sldMkLst>
          <pc:docMk/>
          <pc:sldMk cId="2310578694" sldId="2147478407"/>
        </pc:sldMkLst>
        <pc:spChg chg="mod">
          <ac:chgData name="Lena Kjellberg" userId="0a55da49-65dd-4657-9325-8f0f8fe3ac44" providerId="ADAL" clId="{CFD11730-9FFC-4BF8-99E9-599309C9152F}" dt="2024-08-20T10:01:24.696" v="46"/>
          <ac:spMkLst>
            <pc:docMk/>
            <pc:sldMk cId="2310578694" sldId="2147478407"/>
            <ac:spMk id="3" creationId="{1A6F5C5E-57D8-1699-B182-472AB1578E88}"/>
          </ac:spMkLst>
        </pc:spChg>
      </pc:sldChg>
      <pc:sldChg chg="addSp delSp modSp mod modClrScheme chgLayout">
        <pc:chgData name="Lena Kjellberg" userId="0a55da49-65dd-4657-9325-8f0f8fe3ac44" providerId="ADAL" clId="{CFD11730-9FFC-4BF8-99E9-599309C9152F}" dt="2024-08-20T09:36:55.963" v="18" actId="1076"/>
        <pc:sldMkLst>
          <pc:docMk/>
          <pc:sldMk cId="1316256532" sldId="2147478408"/>
        </pc:sldMkLst>
        <pc:spChg chg="add del mod ord">
          <ac:chgData name="Lena Kjellberg" userId="0a55da49-65dd-4657-9325-8f0f8fe3ac44" providerId="ADAL" clId="{CFD11730-9FFC-4BF8-99E9-599309C9152F}" dt="2024-08-20T09:36:45.268" v="16" actId="478"/>
          <ac:spMkLst>
            <pc:docMk/>
            <pc:sldMk cId="1316256532" sldId="2147478408"/>
            <ac:spMk id="2" creationId="{9E1A5589-E2AF-483C-6A15-8F4AC0C75A2B}"/>
          </ac:spMkLst>
        </pc:spChg>
        <pc:spChg chg="mod ord">
          <ac:chgData name="Lena Kjellberg" userId="0a55da49-65dd-4657-9325-8f0f8fe3ac44" providerId="ADAL" clId="{CFD11730-9FFC-4BF8-99E9-599309C9152F}" dt="2024-08-20T09:36:55.963" v="18" actId="1076"/>
          <ac:spMkLst>
            <pc:docMk/>
            <pc:sldMk cId="1316256532" sldId="2147478408"/>
            <ac:spMk id="4" creationId="{4DA582C4-9F1D-EF19-44C7-F20E4CF5D0FD}"/>
          </ac:spMkLst>
        </pc:spChg>
        <pc:spChg chg="mod ord">
          <ac:chgData name="Lena Kjellberg" userId="0a55da49-65dd-4657-9325-8f0f8fe3ac44" providerId="ADAL" clId="{CFD11730-9FFC-4BF8-99E9-599309C9152F}" dt="2024-08-20T09:36:40.919" v="15"/>
          <ac:spMkLst>
            <pc:docMk/>
            <pc:sldMk cId="1316256532" sldId="2147478408"/>
            <ac:spMk id="5" creationId="{71A17450-A451-F377-87AA-91208368E75B}"/>
          </ac:spMkLst>
        </pc:spChg>
      </pc:sldChg>
      <pc:sldChg chg="modSp mod chgLayout">
        <pc:chgData name="Lena Kjellberg" userId="0a55da49-65dd-4657-9325-8f0f8fe3ac44" providerId="ADAL" clId="{CFD11730-9FFC-4BF8-99E9-599309C9152F}" dt="2024-08-20T10:06:34.250" v="115"/>
        <pc:sldMkLst>
          <pc:docMk/>
          <pc:sldMk cId="2556385695" sldId="2147478409"/>
        </pc:sldMkLst>
        <pc:spChg chg="mod ord">
          <ac:chgData name="Lena Kjellberg" userId="0a55da49-65dd-4657-9325-8f0f8fe3ac44" providerId="ADAL" clId="{CFD11730-9FFC-4BF8-99E9-599309C9152F}" dt="2024-08-20T10:06:34.250" v="115"/>
          <ac:spMkLst>
            <pc:docMk/>
            <pc:sldMk cId="2556385695" sldId="2147478409"/>
            <ac:spMk id="5" creationId="{07C84C5A-969C-651C-40C1-CC701195FB76}"/>
          </ac:spMkLst>
        </pc:spChg>
        <pc:spChg chg="mod ord">
          <ac:chgData name="Lena Kjellberg" userId="0a55da49-65dd-4657-9325-8f0f8fe3ac44" providerId="ADAL" clId="{CFD11730-9FFC-4BF8-99E9-599309C9152F}" dt="2024-08-20T10:06:30.823" v="114" actId="700"/>
          <ac:spMkLst>
            <pc:docMk/>
            <pc:sldMk cId="2556385695" sldId="2147478409"/>
            <ac:spMk id="6" creationId="{95B7FAD1-7EFC-A58A-A073-2474F263ABDD}"/>
          </ac:spMkLst>
        </pc:spChg>
      </pc:sldChg>
      <pc:sldChg chg="modSp mod">
        <pc:chgData name="Lena Kjellberg" userId="0a55da49-65dd-4657-9325-8f0f8fe3ac44" providerId="ADAL" clId="{CFD11730-9FFC-4BF8-99E9-599309C9152F}" dt="2024-08-20T09:59:50.131" v="31" actId="6559"/>
        <pc:sldMkLst>
          <pc:docMk/>
          <pc:sldMk cId="3151779336" sldId="2147478410"/>
        </pc:sldMkLst>
        <pc:spChg chg="mod">
          <ac:chgData name="Lena Kjellberg" userId="0a55da49-65dd-4657-9325-8f0f8fe3ac44" providerId="ADAL" clId="{CFD11730-9FFC-4BF8-99E9-599309C9152F}" dt="2024-08-20T09:59:50.131" v="31" actId="6559"/>
          <ac:spMkLst>
            <pc:docMk/>
            <pc:sldMk cId="3151779336" sldId="2147478410"/>
            <ac:spMk id="5" creationId="{2B7C39B3-B4E4-193C-E41D-CE086B7F741A}"/>
          </ac:spMkLst>
        </pc:spChg>
      </pc:sldChg>
      <pc:sldChg chg="addSp delSp modSp mod modClrScheme chgLayout">
        <pc:chgData name="Lena Kjellberg" userId="0a55da49-65dd-4657-9325-8f0f8fe3ac44" providerId="ADAL" clId="{CFD11730-9FFC-4BF8-99E9-599309C9152F}" dt="2024-08-20T09:37:53.661" v="26" actId="1076"/>
        <pc:sldMkLst>
          <pc:docMk/>
          <pc:sldMk cId="371669498" sldId="2147478411"/>
        </pc:sldMkLst>
        <pc:spChg chg="add del mod ord">
          <ac:chgData name="Lena Kjellberg" userId="0a55da49-65dd-4657-9325-8f0f8fe3ac44" providerId="ADAL" clId="{CFD11730-9FFC-4BF8-99E9-599309C9152F}" dt="2024-08-20T09:37:28.115" v="20" actId="478"/>
          <ac:spMkLst>
            <pc:docMk/>
            <pc:sldMk cId="371669498" sldId="2147478411"/>
            <ac:spMk id="2" creationId="{FC6AEBEF-CBD8-F786-559D-F2D39E3DDDA4}"/>
          </ac:spMkLst>
        </pc:spChg>
        <pc:spChg chg="mod ord">
          <ac:chgData name="Lena Kjellberg" userId="0a55da49-65dd-4657-9325-8f0f8fe3ac44" providerId="ADAL" clId="{CFD11730-9FFC-4BF8-99E9-599309C9152F}" dt="2024-08-20T09:37:40.943" v="23" actId="6559"/>
          <ac:spMkLst>
            <pc:docMk/>
            <pc:sldMk cId="371669498" sldId="2147478411"/>
            <ac:spMk id="4" creationId="{CA5DEF00-5540-6D55-0489-E4316A065FB4}"/>
          </ac:spMkLst>
        </pc:spChg>
        <pc:graphicFrameChg chg="mod">
          <ac:chgData name="Lena Kjellberg" userId="0a55da49-65dd-4657-9325-8f0f8fe3ac44" providerId="ADAL" clId="{CFD11730-9FFC-4BF8-99E9-599309C9152F}" dt="2024-08-20T09:37:53.661" v="26" actId="1076"/>
          <ac:graphicFrameMkLst>
            <pc:docMk/>
            <pc:sldMk cId="371669498" sldId="2147478411"/>
            <ac:graphicFrameMk id="5" creationId="{D30ED36A-D4FC-76E5-EA20-D6CE533DDF13}"/>
          </ac:graphicFrameMkLst>
        </pc:graphicFrameChg>
      </pc:sldChg>
      <pc:sldChg chg="modSp mod">
        <pc:chgData name="Lena Kjellberg" userId="0a55da49-65dd-4657-9325-8f0f8fe3ac44" providerId="ADAL" clId="{CFD11730-9FFC-4BF8-99E9-599309C9152F}" dt="2024-08-20T10:00:16.540" v="38" actId="1035"/>
        <pc:sldMkLst>
          <pc:docMk/>
          <pc:sldMk cId="2713932005" sldId="2147478412"/>
        </pc:sldMkLst>
        <pc:spChg chg="mod">
          <ac:chgData name="Lena Kjellberg" userId="0a55da49-65dd-4657-9325-8f0f8fe3ac44" providerId="ADAL" clId="{CFD11730-9FFC-4BF8-99E9-599309C9152F}" dt="2024-08-20T10:00:16.540" v="38" actId="1035"/>
          <ac:spMkLst>
            <pc:docMk/>
            <pc:sldMk cId="2713932005" sldId="2147478412"/>
            <ac:spMk id="2" creationId="{B062DDED-74CE-6B55-9595-0E2402CD5CD1}"/>
          </ac:spMkLst>
        </pc:spChg>
      </pc:sldChg>
      <pc:sldChg chg="addSp delSp modSp mod chgLayout">
        <pc:chgData name="Lena Kjellberg" userId="0a55da49-65dd-4657-9325-8f0f8fe3ac44" providerId="ADAL" clId="{CFD11730-9FFC-4BF8-99E9-599309C9152F}" dt="2024-08-20T10:05:31.141" v="110" actId="14100"/>
        <pc:sldMkLst>
          <pc:docMk/>
          <pc:sldMk cId="2062167656" sldId="2147478413"/>
        </pc:sldMkLst>
        <pc:spChg chg="add del mod ord">
          <ac:chgData name="Lena Kjellberg" userId="0a55da49-65dd-4657-9325-8f0f8fe3ac44" providerId="ADAL" clId="{CFD11730-9FFC-4BF8-99E9-599309C9152F}" dt="2024-08-20T10:05:05.869" v="105" actId="478"/>
          <ac:spMkLst>
            <pc:docMk/>
            <pc:sldMk cId="2062167656" sldId="2147478413"/>
            <ac:spMk id="2" creationId="{8B7B8DD5-9803-A130-D9CF-DD613283F62F}"/>
          </ac:spMkLst>
        </pc:spChg>
        <pc:spChg chg="mod ord">
          <ac:chgData name="Lena Kjellberg" userId="0a55da49-65dd-4657-9325-8f0f8fe3ac44" providerId="ADAL" clId="{CFD11730-9FFC-4BF8-99E9-599309C9152F}" dt="2024-08-20T10:05:31.141" v="110" actId="14100"/>
          <ac:spMkLst>
            <pc:docMk/>
            <pc:sldMk cId="2062167656" sldId="2147478413"/>
            <ac:spMk id="4" creationId="{92AA227A-452F-A493-A92B-25CEB6EF35DE}"/>
          </ac:spMkLst>
        </pc:spChg>
      </pc:sldChg>
      <pc:sldChg chg="modSp">
        <pc:chgData name="Lena Kjellberg" userId="0a55da49-65dd-4657-9325-8f0f8fe3ac44" providerId="ADAL" clId="{CFD11730-9FFC-4BF8-99E9-599309C9152F}" dt="2024-08-20T10:04:32.617" v="102"/>
        <pc:sldMkLst>
          <pc:docMk/>
          <pc:sldMk cId="3071745133" sldId="2147478414"/>
        </pc:sldMkLst>
        <pc:spChg chg="mod">
          <ac:chgData name="Lena Kjellberg" userId="0a55da49-65dd-4657-9325-8f0f8fe3ac44" providerId="ADAL" clId="{CFD11730-9FFC-4BF8-99E9-599309C9152F}" dt="2024-08-20T10:04:32.617" v="102"/>
          <ac:spMkLst>
            <pc:docMk/>
            <pc:sldMk cId="3071745133" sldId="2147478414"/>
            <ac:spMk id="6" creationId="{3B0C3E0F-7CAE-15E1-5D78-B8DA30569244}"/>
          </ac:spMkLst>
        </pc:spChg>
      </pc:sldChg>
      <pc:sldChg chg="modSp mod">
        <pc:chgData name="Lena Kjellberg" userId="0a55da49-65dd-4657-9325-8f0f8fe3ac44" providerId="ADAL" clId="{CFD11730-9FFC-4BF8-99E9-599309C9152F}" dt="2024-08-20T10:01:40.013" v="48" actId="6559"/>
        <pc:sldMkLst>
          <pc:docMk/>
          <pc:sldMk cId="2130798597" sldId="2147478415"/>
        </pc:sldMkLst>
        <pc:spChg chg="mod">
          <ac:chgData name="Lena Kjellberg" userId="0a55da49-65dd-4657-9325-8f0f8fe3ac44" providerId="ADAL" clId="{CFD11730-9FFC-4BF8-99E9-599309C9152F}" dt="2024-08-20T10:01:40.013" v="48" actId="6559"/>
          <ac:spMkLst>
            <pc:docMk/>
            <pc:sldMk cId="2130798597" sldId="2147478415"/>
            <ac:spMk id="3" creationId="{E310DD6E-6F18-5A7D-5D9D-55C0C5F85F2C}"/>
          </ac:spMkLst>
        </pc:spChg>
      </pc:sldChg>
      <pc:sldChg chg="modSp">
        <pc:chgData name="Lena Kjellberg" userId="0a55da49-65dd-4657-9325-8f0f8fe3ac44" providerId="ADAL" clId="{CFD11730-9FFC-4BF8-99E9-599309C9152F}" dt="2024-08-20T10:04:38.359" v="103"/>
        <pc:sldMkLst>
          <pc:docMk/>
          <pc:sldMk cId="3629806295" sldId="2147478416"/>
        </pc:sldMkLst>
        <pc:spChg chg="mod">
          <ac:chgData name="Lena Kjellberg" userId="0a55da49-65dd-4657-9325-8f0f8fe3ac44" providerId="ADAL" clId="{CFD11730-9FFC-4BF8-99E9-599309C9152F}" dt="2024-08-20T10:04:38.359" v="103"/>
          <ac:spMkLst>
            <pc:docMk/>
            <pc:sldMk cId="3629806295" sldId="2147478416"/>
            <ac:spMk id="3" creationId="{32D8A03F-67A2-B1B8-C6C6-ADC4F8823CC6}"/>
          </ac:spMkLst>
        </pc:spChg>
      </pc:sldChg>
      <pc:sldChg chg="modSp">
        <pc:chgData name="Lena Kjellberg" userId="0a55da49-65dd-4657-9325-8f0f8fe3ac44" providerId="ADAL" clId="{CFD11730-9FFC-4BF8-99E9-599309C9152F}" dt="2024-08-20T10:04:15.698" v="100"/>
        <pc:sldMkLst>
          <pc:docMk/>
          <pc:sldMk cId="3254089293" sldId="2147478417"/>
        </pc:sldMkLst>
        <pc:spChg chg="mod">
          <ac:chgData name="Lena Kjellberg" userId="0a55da49-65dd-4657-9325-8f0f8fe3ac44" providerId="ADAL" clId="{CFD11730-9FFC-4BF8-99E9-599309C9152F}" dt="2024-08-20T10:04:15.698" v="100"/>
          <ac:spMkLst>
            <pc:docMk/>
            <pc:sldMk cId="3254089293" sldId="2147478417"/>
            <ac:spMk id="3" creationId="{977EC1CD-F728-0CC2-3F74-EF8EADD5161B}"/>
          </ac:spMkLst>
        </pc:spChg>
      </pc:sldChg>
      <pc:sldMasterChg chg="del delSldLayout">
        <pc:chgData name="Lena Kjellberg" userId="0a55da49-65dd-4657-9325-8f0f8fe3ac44" providerId="ADAL" clId="{CFD11730-9FFC-4BF8-99E9-599309C9152F}" dt="2024-08-20T09:34:58.732" v="0" actId="700"/>
        <pc:sldMasterMkLst>
          <pc:docMk/>
          <pc:sldMasterMk cId="2075714185" sldId="2147483648"/>
        </pc:sldMasterMkLst>
        <pc:sldLayoutChg chg="del">
          <pc:chgData name="Lena Kjellberg" userId="0a55da49-65dd-4657-9325-8f0f8fe3ac44" providerId="ADAL" clId="{CFD11730-9FFC-4BF8-99E9-599309C9152F}" dt="2024-08-20T09:34:58.732" v="0" actId="700"/>
          <pc:sldLayoutMkLst>
            <pc:docMk/>
            <pc:sldMasterMk cId="2075714185" sldId="2147483648"/>
            <pc:sldLayoutMk cId="1817550364" sldId="2147483649"/>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3001673349" sldId="2147483650"/>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1031483192" sldId="2147483651"/>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3911585398" sldId="2147483652"/>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408802711" sldId="2147483653"/>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2293593249" sldId="2147483654"/>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2817333729" sldId="2147483655"/>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2706779745" sldId="2147483656"/>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1023370094" sldId="2147483657"/>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4020409232" sldId="2147483658"/>
          </pc:sldLayoutMkLst>
        </pc:sldLayoutChg>
        <pc:sldLayoutChg chg="del">
          <pc:chgData name="Lena Kjellberg" userId="0a55da49-65dd-4657-9325-8f0f8fe3ac44" providerId="ADAL" clId="{CFD11730-9FFC-4BF8-99E9-599309C9152F}" dt="2024-08-20T09:34:58.732" v="0" actId="700"/>
          <pc:sldLayoutMkLst>
            <pc:docMk/>
            <pc:sldMasterMk cId="2075714185" sldId="2147483648"/>
            <pc:sldLayoutMk cId="878942026" sldId="2147483659"/>
          </pc:sldLayoutMkLst>
        </pc:sldLayoutChg>
      </pc:sldMasterChg>
    </pc:docChg>
  </pc:docChgLst>
  <pc:docChgLst>
    <pc:chgData name="Lars Persson" userId="S::lars.persson@biometria.se::7f1cec89-9700-434c-88ef-862d3050ba2c" providerId="AD" clId="Web-{0FB3C10D-9727-4012-95F8-6945BC1EA7FA}"/>
    <pc:docChg chg="modSld">
      <pc:chgData name="Lars Persson" userId="S::lars.persson@biometria.se::7f1cec89-9700-434c-88ef-862d3050ba2c" providerId="AD" clId="Web-{0FB3C10D-9727-4012-95F8-6945BC1EA7FA}" dt="2024-08-20T07:58:48.141" v="177"/>
      <pc:docMkLst>
        <pc:docMk/>
      </pc:docMkLst>
      <pc:sldChg chg="addSp delSp modSp mod modClrScheme chgLayout">
        <pc:chgData name="Lars Persson" userId="S::lars.persson@biometria.se::7f1cec89-9700-434c-88ef-862d3050ba2c" providerId="AD" clId="Web-{0FB3C10D-9727-4012-95F8-6945BC1EA7FA}" dt="2024-08-20T07:58:48.141" v="177"/>
        <pc:sldMkLst>
          <pc:docMk/>
          <pc:sldMk cId="2130798597" sldId="2147478415"/>
        </pc:sldMkLst>
        <pc:spChg chg="add del mod ord">
          <ac:chgData name="Lars Persson" userId="S::lars.persson@biometria.se::7f1cec89-9700-434c-88ef-862d3050ba2c" providerId="AD" clId="Web-{0FB3C10D-9727-4012-95F8-6945BC1EA7FA}" dt="2024-08-20T07:58:48.141" v="177"/>
          <ac:spMkLst>
            <pc:docMk/>
            <pc:sldMk cId="2130798597" sldId="2147478415"/>
            <ac:spMk id="2" creationId="{3B28A57A-9417-DE07-B7DD-1F5891254E3C}"/>
          </ac:spMkLst>
        </pc:spChg>
        <pc:spChg chg="mod">
          <ac:chgData name="Lars Persson" userId="S::lars.persson@biometria.se::7f1cec89-9700-434c-88ef-862d3050ba2c" providerId="AD" clId="Web-{0FB3C10D-9727-4012-95F8-6945BC1EA7FA}" dt="2024-08-20T07:58:48.141" v="177"/>
          <ac:spMkLst>
            <pc:docMk/>
            <pc:sldMk cId="2130798597" sldId="2147478415"/>
            <ac:spMk id="3" creationId="{E310DD6E-6F18-5A7D-5D9D-55C0C5F85F2C}"/>
          </ac:spMkLst>
        </pc:spChg>
        <pc:picChg chg="add del mod ord">
          <ac:chgData name="Lars Persson" userId="S::lars.persson@biometria.se::7f1cec89-9700-434c-88ef-862d3050ba2c" providerId="AD" clId="Web-{0FB3C10D-9727-4012-95F8-6945BC1EA7FA}" dt="2024-08-20T07:52:23.704" v="6"/>
          <ac:picMkLst>
            <pc:docMk/>
            <pc:sldMk cId="2130798597" sldId="2147478415"/>
            <ac:picMk id="4" creationId="{36D9826B-3858-3B3E-750F-174A13BE2D31}"/>
          </ac:picMkLst>
        </pc:picChg>
        <pc:picChg chg="add mod">
          <ac:chgData name="Lars Persson" userId="S::lars.persson@biometria.se::7f1cec89-9700-434c-88ef-862d3050ba2c" providerId="AD" clId="Web-{0FB3C10D-9727-4012-95F8-6945BC1EA7FA}" dt="2024-08-20T07:58:48.141" v="177"/>
          <ac:picMkLst>
            <pc:docMk/>
            <pc:sldMk cId="2130798597" sldId="2147478415"/>
            <ac:picMk id="5" creationId="{7A76B8D0-A791-CB90-DBDE-EAE6899314CE}"/>
          </ac:picMkLst>
        </pc:picChg>
        <pc:picChg chg="add mod">
          <ac:chgData name="Lars Persson" userId="S::lars.persson@biometria.se::7f1cec89-9700-434c-88ef-862d3050ba2c" providerId="AD" clId="Web-{0FB3C10D-9727-4012-95F8-6945BC1EA7FA}" dt="2024-08-20T07:58:48.141" v="177"/>
          <ac:picMkLst>
            <pc:docMk/>
            <pc:sldMk cId="2130798597" sldId="2147478415"/>
            <ac:picMk id="6" creationId="{CFC1F652-3EC6-0554-9456-BC6AF1D72764}"/>
          </ac:picMkLst>
        </pc:picChg>
      </pc:sldChg>
    </pc:docChg>
  </pc:docChgLst>
  <pc:docChgLst>
    <pc:chgData name="Lars Persson" userId="S::lars.persson@biometria.se::7f1cec89-9700-434c-88ef-862d3050ba2c" providerId="AD" clId="Web-{2DCE1BE5-F59D-4BBB-855D-49147C569D20}"/>
    <pc:docChg chg="addSld modSld">
      <pc:chgData name="Lars Persson" userId="S::lars.persson@biometria.se::7f1cec89-9700-434c-88ef-862d3050ba2c" providerId="AD" clId="Web-{2DCE1BE5-F59D-4BBB-855D-49147C569D20}" dt="2024-08-19T10:33:38.683" v="18" actId="20577"/>
      <pc:docMkLst>
        <pc:docMk/>
      </pc:docMkLst>
      <pc:sldChg chg="addSp delSp modSp">
        <pc:chgData name="Lars Persson" userId="S::lars.persson@biometria.se::7f1cec89-9700-434c-88ef-862d3050ba2c" providerId="AD" clId="Web-{2DCE1BE5-F59D-4BBB-855D-49147C569D20}" dt="2024-08-19T10:32:31.540" v="8" actId="1076"/>
        <pc:sldMkLst>
          <pc:docMk/>
          <pc:sldMk cId="2310578694" sldId="2147478407"/>
        </pc:sldMkLst>
        <pc:spChg chg="del">
          <ac:chgData name="Lars Persson" userId="S::lars.persson@biometria.se::7f1cec89-9700-434c-88ef-862d3050ba2c" providerId="AD" clId="Web-{2DCE1BE5-F59D-4BBB-855D-49147C569D20}" dt="2024-08-19T10:31:58.477" v="0"/>
          <ac:spMkLst>
            <pc:docMk/>
            <pc:sldMk cId="2310578694" sldId="2147478407"/>
            <ac:spMk id="4" creationId="{509644F2-67F0-502C-ED0F-D3BA4B5505D9}"/>
          </ac:spMkLst>
        </pc:spChg>
        <pc:picChg chg="add mod">
          <ac:chgData name="Lars Persson" userId="S::lars.persson@biometria.se::7f1cec89-9700-434c-88ef-862d3050ba2c" providerId="AD" clId="Web-{2DCE1BE5-F59D-4BBB-855D-49147C569D20}" dt="2024-08-19T10:32:31.540" v="8" actId="1076"/>
          <ac:picMkLst>
            <pc:docMk/>
            <pc:sldMk cId="2310578694" sldId="2147478407"/>
            <ac:picMk id="5" creationId="{C03AFAF2-F29F-A056-72BE-2A3F5805CC6F}"/>
          </ac:picMkLst>
        </pc:picChg>
      </pc:sldChg>
      <pc:sldChg chg="modSp new">
        <pc:chgData name="Lars Persson" userId="S::lars.persson@biometria.se::7f1cec89-9700-434c-88ef-862d3050ba2c" providerId="AD" clId="Web-{2DCE1BE5-F59D-4BBB-855D-49147C569D20}" dt="2024-08-19T10:33:38.683" v="18" actId="20577"/>
        <pc:sldMkLst>
          <pc:docMk/>
          <pc:sldMk cId="2130798597" sldId="2147478415"/>
        </pc:sldMkLst>
        <pc:spChg chg="mod">
          <ac:chgData name="Lars Persson" userId="S::lars.persson@biometria.se::7f1cec89-9700-434c-88ef-862d3050ba2c" providerId="AD" clId="Web-{2DCE1BE5-F59D-4BBB-855D-49147C569D20}" dt="2024-08-19T10:33:38.683" v="18" actId="20577"/>
          <ac:spMkLst>
            <pc:docMk/>
            <pc:sldMk cId="2130798597" sldId="2147478415"/>
            <ac:spMk id="3" creationId="{E310DD6E-6F18-5A7D-5D9D-55C0C5F85F2C}"/>
          </ac:spMkLst>
        </pc:spChg>
      </pc:sldChg>
    </pc:docChg>
  </pc:docChgLst>
  <pc:docChgLst>
    <pc:chgData name="Oskar Cederlöf" userId="3afbec19-b708-44ad-8f4b-6fae763fdba1" providerId="ADAL" clId="{3B6A0757-DC56-445A-9D64-731D0D66FF2E}"/>
    <pc:docChg chg="custSel addSld delSld modSld sldOrd">
      <pc:chgData name="Oskar Cederlöf" userId="3afbec19-b708-44ad-8f4b-6fae763fdba1" providerId="ADAL" clId="{3B6A0757-DC56-445A-9D64-731D0D66FF2E}" dt="2024-08-20T10:35:02.518" v="2951" actId="20577"/>
      <pc:docMkLst>
        <pc:docMk/>
      </pc:docMkLst>
      <pc:sldChg chg="modSp mod">
        <pc:chgData name="Oskar Cederlöf" userId="3afbec19-b708-44ad-8f4b-6fae763fdba1" providerId="ADAL" clId="{3B6A0757-DC56-445A-9D64-731D0D66FF2E}" dt="2024-08-19T12:29:37.306" v="2666" actId="27636"/>
        <pc:sldMkLst>
          <pc:docMk/>
          <pc:sldMk cId="1462300153" sldId="257"/>
        </pc:sldMkLst>
        <pc:spChg chg="mod">
          <ac:chgData name="Oskar Cederlöf" userId="3afbec19-b708-44ad-8f4b-6fae763fdba1" providerId="ADAL" clId="{3B6A0757-DC56-445A-9D64-731D0D66FF2E}" dt="2024-08-13T11:24:15.564" v="18" actId="20577"/>
          <ac:spMkLst>
            <pc:docMk/>
            <pc:sldMk cId="1462300153" sldId="257"/>
            <ac:spMk id="2" creationId="{0DF6C76E-AC05-C796-091A-6A7A8C17B801}"/>
          </ac:spMkLst>
        </pc:spChg>
        <pc:spChg chg="mod">
          <ac:chgData name="Oskar Cederlöf" userId="3afbec19-b708-44ad-8f4b-6fae763fdba1" providerId="ADAL" clId="{3B6A0757-DC56-445A-9D64-731D0D66FF2E}" dt="2024-08-19T12:29:37.306" v="2666" actId="27636"/>
          <ac:spMkLst>
            <pc:docMk/>
            <pc:sldMk cId="1462300153" sldId="257"/>
            <ac:spMk id="3" creationId="{4D22915F-2708-08F7-23F0-9779168270B2}"/>
          </ac:spMkLst>
        </pc:spChg>
      </pc:sldChg>
      <pc:sldChg chg="modSp mod">
        <pc:chgData name="Oskar Cederlöf" userId="3afbec19-b708-44ad-8f4b-6fae763fdba1" providerId="ADAL" clId="{3B6A0757-DC56-445A-9D64-731D0D66FF2E}" dt="2024-08-20T08:01:11.231" v="2895" actId="20577"/>
        <pc:sldMkLst>
          <pc:docMk/>
          <pc:sldMk cId="273946975" sldId="313"/>
        </pc:sldMkLst>
        <pc:spChg chg="mod">
          <ac:chgData name="Oskar Cederlöf" userId="3afbec19-b708-44ad-8f4b-6fae763fdba1" providerId="ADAL" clId="{3B6A0757-DC56-445A-9D64-731D0D66FF2E}" dt="2024-08-20T08:01:11.231" v="2895" actId="20577"/>
          <ac:spMkLst>
            <pc:docMk/>
            <pc:sldMk cId="273946975" sldId="313"/>
            <ac:spMk id="115" creationId="{309EE595-5E82-5A03-F8CF-F3A5074FFFAA}"/>
          </ac:spMkLst>
        </pc:spChg>
      </pc:sldChg>
      <pc:sldChg chg="modSp mod">
        <pc:chgData name="Oskar Cederlöf" userId="3afbec19-b708-44ad-8f4b-6fae763fdba1" providerId="ADAL" clId="{3B6A0757-DC56-445A-9D64-731D0D66FF2E}" dt="2024-08-19T10:44:07.201" v="1684" actId="113"/>
        <pc:sldMkLst>
          <pc:docMk/>
          <pc:sldMk cId="1317688283" sldId="325"/>
        </pc:sldMkLst>
        <pc:spChg chg="mod">
          <ac:chgData name="Oskar Cederlöf" userId="3afbec19-b708-44ad-8f4b-6fae763fdba1" providerId="ADAL" clId="{3B6A0757-DC56-445A-9D64-731D0D66FF2E}" dt="2024-08-19T10:44:07.201" v="1684" actId="113"/>
          <ac:spMkLst>
            <pc:docMk/>
            <pc:sldMk cId="1317688283" sldId="325"/>
            <ac:spMk id="3" creationId="{4396DB4C-FFE8-31F2-37D9-9C37F347D8C0}"/>
          </ac:spMkLst>
        </pc:spChg>
      </pc:sldChg>
      <pc:sldChg chg="modSp mod">
        <pc:chgData name="Oskar Cederlöf" userId="3afbec19-b708-44ad-8f4b-6fae763fdba1" providerId="ADAL" clId="{3B6A0757-DC56-445A-9D64-731D0D66FF2E}" dt="2024-08-20T08:11:47.691" v="2903" actId="6549"/>
        <pc:sldMkLst>
          <pc:docMk/>
          <pc:sldMk cId="1144761144" sldId="338"/>
        </pc:sldMkLst>
        <pc:spChg chg="mod">
          <ac:chgData name="Oskar Cederlöf" userId="3afbec19-b708-44ad-8f4b-6fae763fdba1" providerId="ADAL" clId="{3B6A0757-DC56-445A-9D64-731D0D66FF2E}" dt="2024-08-20T08:11:47.691" v="2903" actId="6549"/>
          <ac:spMkLst>
            <pc:docMk/>
            <pc:sldMk cId="1144761144" sldId="338"/>
            <ac:spMk id="4" creationId="{A2A21617-1AD2-DE6B-C2E7-592E7983C769}"/>
          </ac:spMkLst>
        </pc:spChg>
      </pc:sldChg>
      <pc:sldChg chg="modSp del mod">
        <pc:chgData name="Oskar Cederlöf" userId="3afbec19-b708-44ad-8f4b-6fae763fdba1" providerId="ADAL" clId="{3B6A0757-DC56-445A-9D64-731D0D66FF2E}" dt="2024-08-19T12:17:10.628" v="1904" actId="47"/>
        <pc:sldMkLst>
          <pc:docMk/>
          <pc:sldMk cId="3623948385" sldId="339"/>
        </pc:sldMkLst>
        <pc:spChg chg="mod">
          <ac:chgData name="Oskar Cederlöf" userId="3afbec19-b708-44ad-8f4b-6fae763fdba1" providerId="ADAL" clId="{3B6A0757-DC56-445A-9D64-731D0D66FF2E}" dt="2024-08-19T11:55:15.598" v="1861" actId="5793"/>
          <ac:spMkLst>
            <pc:docMk/>
            <pc:sldMk cId="3623948385" sldId="339"/>
            <ac:spMk id="3" creationId="{E3A94597-1045-2D98-4FF6-9875B807EBB3}"/>
          </ac:spMkLst>
        </pc:spChg>
      </pc:sldChg>
      <pc:sldChg chg="modSp mod">
        <pc:chgData name="Oskar Cederlöf" userId="3afbec19-b708-44ad-8f4b-6fae763fdba1" providerId="ADAL" clId="{3B6A0757-DC56-445A-9D64-731D0D66FF2E}" dt="2024-08-13T11:42:48.213" v="517" actId="1076"/>
        <pc:sldMkLst>
          <pc:docMk/>
          <pc:sldMk cId="917362646" sldId="353"/>
        </pc:sldMkLst>
        <pc:spChg chg="mod">
          <ac:chgData name="Oskar Cederlöf" userId="3afbec19-b708-44ad-8f4b-6fae763fdba1" providerId="ADAL" clId="{3B6A0757-DC56-445A-9D64-731D0D66FF2E}" dt="2024-08-13T11:42:48.213" v="517" actId="1076"/>
          <ac:spMkLst>
            <pc:docMk/>
            <pc:sldMk cId="917362646" sldId="353"/>
            <ac:spMk id="5" creationId="{4FA039AB-E17D-8581-F3EC-543256FBBAE0}"/>
          </ac:spMkLst>
        </pc:spChg>
      </pc:sldChg>
      <pc:sldChg chg="modSp mod">
        <pc:chgData name="Oskar Cederlöf" userId="3afbec19-b708-44ad-8f4b-6fae763fdba1" providerId="ADAL" clId="{3B6A0757-DC56-445A-9D64-731D0D66FF2E}" dt="2024-08-19T11:50:32.203" v="1846" actId="6549"/>
        <pc:sldMkLst>
          <pc:docMk/>
          <pc:sldMk cId="2864544690" sldId="2147472122"/>
        </pc:sldMkLst>
        <pc:spChg chg="mod">
          <ac:chgData name="Oskar Cederlöf" userId="3afbec19-b708-44ad-8f4b-6fae763fdba1" providerId="ADAL" clId="{3B6A0757-DC56-445A-9D64-731D0D66FF2E}" dt="2024-08-19T11:50:32.203" v="1846" actId="6549"/>
          <ac:spMkLst>
            <pc:docMk/>
            <pc:sldMk cId="2864544690" sldId="2147472122"/>
            <ac:spMk id="3" creationId="{1BAF0F2D-DBA1-5465-650C-ADF457C37C08}"/>
          </ac:spMkLst>
        </pc:spChg>
      </pc:sldChg>
      <pc:sldChg chg="modSp mod">
        <pc:chgData name="Oskar Cederlöf" userId="3afbec19-b708-44ad-8f4b-6fae763fdba1" providerId="ADAL" clId="{3B6A0757-DC56-445A-9D64-731D0D66FF2E}" dt="2024-08-13T11:54:01.290" v="572" actId="20577"/>
        <pc:sldMkLst>
          <pc:docMk/>
          <pc:sldMk cId="1254722030" sldId="2147478383"/>
        </pc:sldMkLst>
        <pc:graphicFrameChg chg="modGraphic">
          <ac:chgData name="Oskar Cederlöf" userId="3afbec19-b708-44ad-8f4b-6fae763fdba1" providerId="ADAL" clId="{3B6A0757-DC56-445A-9D64-731D0D66FF2E}" dt="2024-08-13T11:54:01.290" v="572" actId="20577"/>
          <ac:graphicFrameMkLst>
            <pc:docMk/>
            <pc:sldMk cId="1254722030" sldId="2147478383"/>
            <ac:graphicFrameMk id="6" creationId="{67B00579-BC78-B3E1-D8A7-CC4F18D39247}"/>
          </ac:graphicFrameMkLst>
        </pc:graphicFrameChg>
      </pc:sldChg>
      <pc:sldChg chg="modSp mod">
        <pc:chgData name="Oskar Cederlöf" userId="3afbec19-b708-44ad-8f4b-6fae763fdba1" providerId="ADAL" clId="{3B6A0757-DC56-445A-9D64-731D0D66FF2E}" dt="2024-08-13T11:54:18.176" v="599" actId="20577"/>
        <pc:sldMkLst>
          <pc:docMk/>
          <pc:sldMk cId="1487094880" sldId="2147478384"/>
        </pc:sldMkLst>
        <pc:graphicFrameChg chg="modGraphic">
          <ac:chgData name="Oskar Cederlöf" userId="3afbec19-b708-44ad-8f4b-6fae763fdba1" providerId="ADAL" clId="{3B6A0757-DC56-445A-9D64-731D0D66FF2E}" dt="2024-08-13T11:54:18.176" v="599" actId="20577"/>
          <ac:graphicFrameMkLst>
            <pc:docMk/>
            <pc:sldMk cId="1487094880" sldId="2147478384"/>
            <ac:graphicFrameMk id="6" creationId="{67B00579-BC78-B3E1-D8A7-CC4F18D39247}"/>
          </ac:graphicFrameMkLst>
        </pc:graphicFrameChg>
      </pc:sldChg>
      <pc:sldChg chg="delSp mod ord">
        <pc:chgData name="Oskar Cederlöf" userId="3afbec19-b708-44ad-8f4b-6fae763fdba1" providerId="ADAL" clId="{3B6A0757-DC56-445A-9D64-731D0D66FF2E}" dt="2024-08-19T10:40:57.764" v="1682"/>
        <pc:sldMkLst>
          <pc:docMk/>
          <pc:sldMk cId="2604566993" sldId="2147478395"/>
        </pc:sldMkLst>
        <pc:spChg chg="del">
          <ac:chgData name="Oskar Cederlöf" userId="3afbec19-b708-44ad-8f4b-6fae763fdba1" providerId="ADAL" clId="{3B6A0757-DC56-445A-9D64-731D0D66FF2E}" dt="2024-08-19T10:40:54.441" v="1680" actId="478"/>
          <ac:spMkLst>
            <pc:docMk/>
            <pc:sldMk cId="2604566993" sldId="2147478395"/>
            <ac:spMk id="2" creationId="{31CDE697-0F1C-DCA9-0F65-EFB0A1037FF7}"/>
          </ac:spMkLst>
        </pc:spChg>
      </pc:sldChg>
      <pc:sldChg chg="modSp mod">
        <pc:chgData name="Oskar Cederlöf" userId="3afbec19-b708-44ad-8f4b-6fae763fdba1" providerId="ADAL" clId="{3B6A0757-DC56-445A-9D64-731D0D66FF2E}" dt="2024-08-20T07:57:02.778" v="2811" actId="6549"/>
        <pc:sldMkLst>
          <pc:docMk/>
          <pc:sldMk cId="16580982" sldId="2147478396"/>
        </pc:sldMkLst>
        <pc:spChg chg="mod">
          <ac:chgData name="Oskar Cederlöf" userId="3afbec19-b708-44ad-8f4b-6fae763fdba1" providerId="ADAL" clId="{3B6A0757-DC56-445A-9D64-731D0D66FF2E}" dt="2024-08-20T07:57:02.778" v="2811" actId="6549"/>
          <ac:spMkLst>
            <pc:docMk/>
            <pc:sldMk cId="16580982" sldId="2147478396"/>
            <ac:spMk id="7" creationId="{17493462-4999-4255-2F2A-726913C5371B}"/>
          </ac:spMkLst>
        </pc:spChg>
      </pc:sldChg>
      <pc:sldChg chg="modSp mod">
        <pc:chgData name="Oskar Cederlöf" userId="3afbec19-b708-44ad-8f4b-6fae763fdba1" providerId="ADAL" clId="{3B6A0757-DC56-445A-9D64-731D0D66FF2E}" dt="2024-08-20T07:59:22.695" v="2842" actId="20577"/>
        <pc:sldMkLst>
          <pc:docMk/>
          <pc:sldMk cId="1650419112" sldId="2147478399"/>
        </pc:sldMkLst>
        <pc:spChg chg="mod">
          <ac:chgData name="Oskar Cederlöf" userId="3afbec19-b708-44ad-8f4b-6fae763fdba1" providerId="ADAL" clId="{3B6A0757-DC56-445A-9D64-731D0D66FF2E}" dt="2024-08-20T07:59:22.695" v="2842" actId="20577"/>
          <ac:spMkLst>
            <pc:docMk/>
            <pc:sldMk cId="1650419112" sldId="2147478399"/>
            <ac:spMk id="2" creationId="{3F1E5667-8C19-70DB-C706-A359BFBBD979}"/>
          </ac:spMkLst>
        </pc:spChg>
      </pc:sldChg>
      <pc:sldChg chg="addSp modSp mod">
        <pc:chgData name="Oskar Cederlöf" userId="3afbec19-b708-44ad-8f4b-6fae763fdba1" providerId="ADAL" clId="{3B6A0757-DC56-445A-9D64-731D0D66FF2E}" dt="2024-08-19T11:13:13.143" v="1730" actId="1076"/>
        <pc:sldMkLst>
          <pc:docMk/>
          <pc:sldMk cId="1109990766" sldId="2147478403"/>
        </pc:sldMkLst>
        <pc:spChg chg="mod">
          <ac:chgData name="Oskar Cederlöf" userId="3afbec19-b708-44ad-8f4b-6fae763fdba1" providerId="ADAL" clId="{3B6A0757-DC56-445A-9D64-731D0D66FF2E}" dt="2024-08-19T11:13:13.143" v="1730" actId="1076"/>
          <ac:spMkLst>
            <pc:docMk/>
            <pc:sldMk cId="1109990766" sldId="2147478403"/>
            <ac:spMk id="2" creationId="{E7987BDD-06DE-EC10-7A51-8362A43F8FB7}"/>
          </ac:spMkLst>
        </pc:spChg>
        <pc:spChg chg="add mod">
          <ac:chgData name="Oskar Cederlöf" userId="3afbec19-b708-44ad-8f4b-6fae763fdba1" providerId="ADAL" clId="{3B6A0757-DC56-445A-9D64-731D0D66FF2E}" dt="2024-08-19T10:34:57.132" v="1679" actId="6549"/>
          <ac:spMkLst>
            <pc:docMk/>
            <pc:sldMk cId="1109990766" sldId="2147478403"/>
            <ac:spMk id="3" creationId="{0A8D876C-A019-EFC3-EC44-4C52D039F963}"/>
          </ac:spMkLst>
        </pc:spChg>
        <pc:spChg chg="mod">
          <ac:chgData name="Oskar Cederlöf" userId="3afbec19-b708-44ad-8f4b-6fae763fdba1" providerId="ADAL" clId="{3B6A0757-DC56-445A-9D64-731D0D66FF2E}" dt="2024-08-19T08:40:06.738" v="1412" actId="1076"/>
          <ac:spMkLst>
            <pc:docMk/>
            <pc:sldMk cId="1109990766" sldId="2147478403"/>
            <ac:spMk id="5" creationId="{380B527C-7D2B-2051-A349-BCAD444922EF}"/>
          </ac:spMkLst>
        </pc:spChg>
        <pc:picChg chg="mod">
          <ac:chgData name="Oskar Cederlöf" userId="3afbec19-b708-44ad-8f4b-6fae763fdba1" providerId="ADAL" clId="{3B6A0757-DC56-445A-9D64-731D0D66FF2E}" dt="2024-08-19T08:40:03.565" v="1411" actId="14100"/>
          <ac:picMkLst>
            <pc:docMk/>
            <pc:sldMk cId="1109990766" sldId="2147478403"/>
            <ac:picMk id="4" creationId="{097FD3EB-CF43-5A19-61BE-73CC9BB37262}"/>
          </ac:picMkLst>
        </pc:picChg>
      </pc:sldChg>
      <pc:sldChg chg="addSp delSp modSp mod">
        <pc:chgData name="Oskar Cederlöf" userId="3afbec19-b708-44ad-8f4b-6fae763fdba1" providerId="ADAL" clId="{3B6A0757-DC56-445A-9D64-731D0D66FF2E}" dt="2024-08-19T11:32:34.159" v="1735" actId="1076"/>
        <pc:sldMkLst>
          <pc:docMk/>
          <pc:sldMk cId="2649160507" sldId="2147478404"/>
        </pc:sldMkLst>
        <pc:spChg chg="mod">
          <ac:chgData name="Oskar Cederlöf" userId="3afbec19-b708-44ad-8f4b-6fae763fdba1" providerId="ADAL" clId="{3B6A0757-DC56-445A-9D64-731D0D66FF2E}" dt="2024-08-19T11:32:34.159" v="1735" actId="1076"/>
          <ac:spMkLst>
            <pc:docMk/>
            <pc:sldMk cId="2649160507" sldId="2147478404"/>
            <ac:spMk id="5" creationId="{0B42680F-D9DB-7A84-3516-127F64EE5729}"/>
          </ac:spMkLst>
        </pc:spChg>
        <pc:picChg chg="del">
          <ac:chgData name="Oskar Cederlöf" userId="3afbec19-b708-44ad-8f4b-6fae763fdba1" providerId="ADAL" clId="{3B6A0757-DC56-445A-9D64-731D0D66FF2E}" dt="2024-08-19T11:32:12.687" v="1731" actId="478"/>
          <ac:picMkLst>
            <pc:docMk/>
            <pc:sldMk cId="2649160507" sldId="2147478404"/>
            <ac:picMk id="4" creationId="{1CF4E467-E106-DDD1-E7DB-08B5CCED12C1}"/>
          </ac:picMkLst>
        </pc:picChg>
        <pc:picChg chg="add mod">
          <ac:chgData name="Oskar Cederlöf" userId="3afbec19-b708-44ad-8f4b-6fae763fdba1" providerId="ADAL" clId="{3B6A0757-DC56-445A-9D64-731D0D66FF2E}" dt="2024-08-19T11:32:20.167" v="1734" actId="1076"/>
          <ac:picMkLst>
            <pc:docMk/>
            <pc:sldMk cId="2649160507" sldId="2147478404"/>
            <ac:picMk id="6" creationId="{67608ED4-2C33-C5B0-400E-4D86B41236C7}"/>
          </ac:picMkLst>
        </pc:picChg>
      </pc:sldChg>
      <pc:sldChg chg="modSp mod">
        <pc:chgData name="Oskar Cederlöf" userId="3afbec19-b708-44ad-8f4b-6fae763fdba1" providerId="ADAL" clId="{3B6A0757-DC56-445A-9D64-731D0D66FF2E}" dt="2024-08-19T12:17:26.216" v="1908" actId="313"/>
        <pc:sldMkLst>
          <pc:docMk/>
          <pc:sldMk cId="414210311" sldId="2147478405"/>
        </pc:sldMkLst>
        <pc:spChg chg="mod">
          <ac:chgData name="Oskar Cederlöf" userId="3afbec19-b708-44ad-8f4b-6fae763fdba1" providerId="ADAL" clId="{3B6A0757-DC56-445A-9D64-731D0D66FF2E}" dt="2024-08-19T12:17:26.216" v="1908" actId="313"/>
          <ac:spMkLst>
            <pc:docMk/>
            <pc:sldMk cId="414210311" sldId="2147478405"/>
            <ac:spMk id="2" creationId="{12BA775D-702B-6003-4350-35CA0DD3F6F8}"/>
          </ac:spMkLst>
        </pc:spChg>
      </pc:sldChg>
      <pc:sldChg chg="modSp mod">
        <pc:chgData name="Oskar Cederlöf" userId="3afbec19-b708-44ad-8f4b-6fae763fdba1" providerId="ADAL" clId="{3B6A0757-DC56-445A-9D64-731D0D66FF2E}" dt="2024-08-20T07:59:56.760" v="2843" actId="20577"/>
        <pc:sldMkLst>
          <pc:docMk/>
          <pc:sldMk cId="2310578694" sldId="2147478407"/>
        </pc:sldMkLst>
        <pc:spChg chg="mod">
          <ac:chgData name="Oskar Cederlöf" userId="3afbec19-b708-44ad-8f4b-6fae763fdba1" providerId="ADAL" clId="{3B6A0757-DC56-445A-9D64-731D0D66FF2E}" dt="2024-08-13T11:30:55.678" v="57" actId="20577"/>
          <ac:spMkLst>
            <pc:docMk/>
            <pc:sldMk cId="2310578694" sldId="2147478407"/>
            <ac:spMk id="2" creationId="{F0451400-5CE2-7A52-00E2-4A6C20487420}"/>
          </ac:spMkLst>
        </pc:spChg>
        <pc:spChg chg="mod">
          <ac:chgData name="Oskar Cederlöf" userId="3afbec19-b708-44ad-8f4b-6fae763fdba1" providerId="ADAL" clId="{3B6A0757-DC56-445A-9D64-731D0D66FF2E}" dt="2024-08-20T07:59:56.760" v="2843" actId="20577"/>
          <ac:spMkLst>
            <pc:docMk/>
            <pc:sldMk cId="2310578694" sldId="2147478407"/>
            <ac:spMk id="3" creationId="{1A6F5C5E-57D8-1699-B182-472AB1578E88}"/>
          </ac:spMkLst>
        </pc:spChg>
      </pc:sldChg>
      <pc:sldChg chg="modSp">
        <pc:chgData name="Oskar Cederlöf" userId="3afbec19-b708-44ad-8f4b-6fae763fdba1" providerId="ADAL" clId="{3B6A0757-DC56-445A-9D64-731D0D66FF2E}" dt="2024-08-20T08:01:40.902" v="2902" actId="20577"/>
        <pc:sldMkLst>
          <pc:docMk/>
          <pc:sldMk cId="371669498" sldId="2147478411"/>
        </pc:sldMkLst>
        <pc:graphicFrameChg chg="mod">
          <ac:chgData name="Oskar Cederlöf" userId="3afbec19-b708-44ad-8f4b-6fae763fdba1" providerId="ADAL" clId="{3B6A0757-DC56-445A-9D64-731D0D66FF2E}" dt="2024-08-20T08:01:40.902" v="2902" actId="20577"/>
          <ac:graphicFrameMkLst>
            <pc:docMk/>
            <pc:sldMk cId="371669498" sldId="2147478411"/>
            <ac:graphicFrameMk id="5" creationId="{D30ED36A-D4FC-76E5-EA20-D6CE533DDF13}"/>
          </ac:graphicFrameMkLst>
        </pc:graphicFrameChg>
      </pc:sldChg>
      <pc:sldChg chg="addSp modSp mod modAnim">
        <pc:chgData name="Oskar Cederlöf" userId="3afbec19-b708-44ad-8f4b-6fae763fdba1" providerId="ADAL" clId="{3B6A0757-DC56-445A-9D64-731D0D66FF2E}" dt="2024-08-20T08:35:28.243" v="2937"/>
        <pc:sldMkLst>
          <pc:docMk/>
          <pc:sldMk cId="2713932005" sldId="2147478412"/>
        </pc:sldMkLst>
        <pc:spChg chg="add mod">
          <ac:chgData name="Oskar Cederlöf" userId="3afbec19-b708-44ad-8f4b-6fae763fdba1" providerId="ADAL" clId="{3B6A0757-DC56-445A-9D64-731D0D66FF2E}" dt="2024-08-20T08:35:11.925" v="2936" actId="208"/>
          <ac:spMkLst>
            <pc:docMk/>
            <pc:sldMk cId="2713932005" sldId="2147478412"/>
            <ac:spMk id="2" creationId="{B062DDED-74CE-6B55-9595-0E2402CD5CD1}"/>
          </ac:spMkLst>
        </pc:spChg>
        <pc:graphicFrameChg chg="mod">
          <ac:chgData name="Oskar Cederlöf" userId="3afbec19-b708-44ad-8f4b-6fae763fdba1" providerId="ADAL" clId="{3B6A0757-DC56-445A-9D64-731D0D66FF2E}" dt="2024-08-20T08:33:31.929" v="2930" actId="20577"/>
          <ac:graphicFrameMkLst>
            <pc:docMk/>
            <pc:sldMk cId="2713932005" sldId="2147478412"/>
            <ac:graphicFrameMk id="5" creationId="{28072297-ED0F-3EEC-BCC9-D3FCBE038CDC}"/>
          </ac:graphicFrameMkLst>
        </pc:graphicFrameChg>
      </pc:sldChg>
      <pc:sldChg chg="modSp add mod">
        <pc:chgData name="Oskar Cederlöf" userId="3afbec19-b708-44ad-8f4b-6fae763fdba1" providerId="ADAL" clId="{3B6A0757-DC56-445A-9D64-731D0D66FF2E}" dt="2024-08-20T07:56:40.010" v="2766" actId="20577"/>
        <pc:sldMkLst>
          <pc:docMk/>
          <pc:sldMk cId="3071745133" sldId="2147478414"/>
        </pc:sldMkLst>
        <pc:spChg chg="mod">
          <ac:chgData name="Oskar Cederlöf" userId="3afbec19-b708-44ad-8f4b-6fae763fdba1" providerId="ADAL" clId="{3B6A0757-DC56-445A-9D64-731D0D66FF2E}" dt="2024-08-13T12:04:17.711" v="696" actId="20577"/>
          <ac:spMkLst>
            <pc:docMk/>
            <pc:sldMk cId="3071745133" sldId="2147478414"/>
            <ac:spMk id="6" creationId="{3B0C3E0F-7CAE-15E1-5D78-B8DA30569244}"/>
          </ac:spMkLst>
        </pc:spChg>
        <pc:spChg chg="mod">
          <ac:chgData name="Oskar Cederlöf" userId="3afbec19-b708-44ad-8f4b-6fae763fdba1" providerId="ADAL" clId="{3B6A0757-DC56-445A-9D64-731D0D66FF2E}" dt="2024-08-20T07:56:40.010" v="2766" actId="20577"/>
          <ac:spMkLst>
            <pc:docMk/>
            <pc:sldMk cId="3071745133" sldId="2147478414"/>
            <ac:spMk id="7" creationId="{17493462-4999-4255-2F2A-726913C5371B}"/>
          </ac:spMkLst>
        </pc:spChg>
      </pc:sldChg>
      <pc:sldChg chg="modSp new mod">
        <pc:chgData name="Oskar Cederlöf" userId="3afbec19-b708-44ad-8f4b-6fae763fdba1" providerId="ADAL" clId="{3B6A0757-DC56-445A-9D64-731D0D66FF2E}" dt="2024-08-19T12:26:06.429" v="2596" actId="20577"/>
        <pc:sldMkLst>
          <pc:docMk/>
          <pc:sldMk cId="3629806295" sldId="2147478416"/>
        </pc:sldMkLst>
        <pc:spChg chg="mod">
          <ac:chgData name="Oskar Cederlöf" userId="3afbec19-b708-44ad-8f4b-6fae763fdba1" providerId="ADAL" clId="{3B6A0757-DC56-445A-9D64-731D0D66FF2E}" dt="2024-08-19T12:26:06.429" v="2596" actId="20577"/>
          <ac:spMkLst>
            <pc:docMk/>
            <pc:sldMk cId="3629806295" sldId="2147478416"/>
            <ac:spMk id="2" creationId="{0A7D2EB5-B555-2185-8449-5D8C0FD43465}"/>
          </ac:spMkLst>
        </pc:spChg>
        <pc:spChg chg="mod">
          <ac:chgData name="Oskar Cederlöf" userId="3afbec19-b708-44ad-8f4b-6fae763fdba1" providerId="ADAL" clId="{3B6A0757-DC56-445A-9D64-731D0D66FF2E}" dt="2024-08-19T10:52:59.517" v="1728" actId="20577"/>
          <ac:spMkLst>
            <pc:docMk/>
            <pc:sldMk cId="3629806295" sldId="2147478416"/>
            <ac:spMk id="3" creationId="{32D8A03F-67A2-B1B8-C6C6-ADC4F8823CC6}"/>
          </ac:spMkLst>
        </pc:spChg>
      </pc:sldChg>
      <pc:sldChg chg="addSp delSp modSp new mod">
        <pc:chgData name="Oskar Cederlöf" userId="3afbec19-b708-44ad-8f4b-6fae763fdba1" providerId="ADAL" clId="{3B6A0757-DC56-445A-9D64-731D0D66FF2E}" dt="2024-08-19T12:16:53.639" v="1903" actId="20577"/>
        <pc:sldMkLst>
          <pc:docMk/>
          <pc:sldMk cId="3254089293" sldId="2147478417"/>
        </pc:sldMkLst>
        <pc:spChg chg="del">
          <ac:chgData name="Oskar Cederlöf" userId="3afbec19-b708-44ad-8f4b-6fae763fdba1" providerId="ADAL" clId="{3B6A0757-DC56-445A-9D64-731D0D66FF2E}" dt="2024-08-19T11:53:01.188" v="1848" actId="1032"/>
          <ac:spMkLst>
            <pc:docMk/>
            <pc:sldMk cId="3254089293" sldId="2147478417"/>
            <ac:spMk id="2" creationId="{C738A4EB-46FA-8B2A-6314-F1DBB45849AF}"/>
          </ac:spMkLst>
        </pc:spChg>
        <pc:spChg chg="mod">
          <ac:chgData name="Oskar Cederlöf" userId="3afbec19-b708-44ad-8f4b-6fae763fdba1" providerId="ADAL" clId="{3B6A0757-DC56-445A-9D64-731D0D66FF2E}" dt="2024-08-19T11:54:08.379" v="1850"/>
          <ac:spMkLst>
            <pc:docMk/>
            <pc:sldMk cId="3254089293" sldId="2147478417"/>
            <ac:spMk id="3" creationId="{977EC1CD-F728-0CC2-3F74-EF8EADD5161B}"/>
          </ac:spMkLst>
        </pc:spChg>
        <pc:graphicFrameChg chg="add mod modGraphic">
          <ac:chgData name="Oskar Cederlöf" userId="3afbec19-b708-44ad-8f4b-6fae763fdba1" providerId="ADAL" clId="{3B6A0757-DC56-445A-9D64-731D0D66FF2E}" dt="2024-08-19T12:16:53.639" v="1903" actId="20577"/>
          <ac:graphicFrameMkLst>
            <pc:docMk/>
            <pc:sldMk cId="3254089293" sldId="2147478417"/>
            <ac:graphicFrameMk id="4" creationId="{EFF5CB9D-049E-3E1D-2030-FD0E6B411432}"/>
          </ac:graphicFrameMkLst>
        </pc:graphicFrameChg>
      </pc:sldChg>
      <pc:sldChg chg="addSp delSp modSp new mod modClrScheme chgLayout">
        <pc:chgData name="Oskar Cederlöf" userId="3afbec19-b708-44ad-8f4b-6fae763fdba1" providerId="ADAL" clId="{3B6A0757-DC56-445A-9D64-731D0D66FF2E}" dt="2024-08-20T10:35:02.518" v="2951" actId="20577"/>
        <pc:sldMkLst>
          <pc:docMk/>
          <pc:sldMk cId="579228430" sldId="2147478418"/>
        </pc:sldMkLst>
        <pc:spChg chg="del mod ord">
          <ac:chgData name="Oskar Cederlöf" userId="3afbec19-b708-44ad-8f4b-6fae763fdba1" providerId="ADAL" clId="{3B6A0757-DC56-445A-9D64-731D0D66FF2E}" dt="2024-08-20T10:34:39.887" v="2939" actId="700"/>
          <ac:spMkLst>
            <pc:docMk/>
            <pc:sldMk cId="579228430" sldId="2147478418"/>
            <ac:spMk id="2" creationId="{32DEC30B-9DE9-38B7-B33C-D7A8C04EC7B2}"/>
          </ac:spMkLst>
        </pc:spChg>
        <pc:spChg chg="del mod ord">
          <ac:chgData name="Oskar Cederlöf" userId="3afbec19-b708-44ad-8f4b-6fae763fdba1" providerId="ADAL" clId="{3B6A0757-DC56-445A-9D64-731D0D66FF2E}" dt="2024-08-20T10:34:39.887" v="2939" actId="700"/>
          <ac:spMkLst>
            <pc:docMk/>
            <pc:sldMk cId="579228430" sldId="2147478418"/>
            <ac:spMk id="3" creationId="{B52D3CE0-D5F4-8992-BFCF-32E68A6A638D}"/>
          </ac:spMkLst>
        </pc:spChg>
        <pc:spChg chg="add del mod ord">
          <ac:chgData name="Oskar Cederlöf" userId="3afbec19-b708-44ad-8f4b-6fae763fdba1" providerId="ADAL" clId="{3B6A0757-DC56-445A-9D64-731D0D66FF2E}" dt="2024-08-20T10:34:54.876" v="2940" actId="700"/>
          <ac:spMkLst>
            <pc:docMk/>
            <pc:sldMk cId="579228430" sldId="2147478418"/>
            <ac:spMk id="4" creationId="{3D23EE49-EE63-879A-DF17-685B5B213D5E}"/>
          </ac:spMkLst>
        </pc:spChg>
        <pc:spChg chg="add del mod ord">
          <ac:chgData name="Oskar Cederlöf" userId="3afbec19-b708-44ad-8f4b-6fae763fdba1" providerId="ADAL" clId="{3B6A0757-DC56-445A-9D64-731D0D66FF2E}" dt="2024-08-20T10:34:54.876" v="2940" actId="700"/>
          <ac:spMkLst>
            <pc:docMk/>
            <pc:sldMk cId="579228430" sldId="2147478418"/>
            <ac:spMk id="5" creationId="{F63336FA-7177-005C-74F7-0468475FE271}"/>
          </ac:spMkLst>
        </pc:spChg>
        <pc:spChg chg="add mod ord">
          <ac:chgData name="Oskar Cederlöf" userId="3afbec19-b708-44ad-8f4b-6fae763fdba1" providerId="ADAL" clId="{3B6A0757-DC56-445A-9D64-731D0D66FF2E}" dt="2024-08-20T10:35:02.518" v="2951" actId="20577"/>
          <ac:spMkLst>
            <pc:docMk/>
            <pc:sldMk cId="579228430" sldId="2147478418"/>
            <ac:spMk id="6" creationId="{9DA89B62-9E6E-E896-F4ED-3052CB3A11AB}"/>
          </ac:spMkLst>
        </pc:sp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85D7D49-570C-4C21-B259-327C7EA2BACB}" type="doc">
      <dgm:prSet loTypeId="urn:microsoft.com/office/officeart/2008/layout/AlternatingHexagons" loCatId="list" qsTypeId="urn:microsoft.com/office/officeart/2005/8/quickstyle/simple4" qsCatId="simple" csTypeId="urn:microsoft.com/office/officeart/2005/8/colors/accent1_2" csCatId="accent1" phldr="1"/>
      <dgm:spPr/>
      <dgm:t>
        <a:bodyPr/>
        <a:lstStyle/>
        <a:p>
          <a:endParaRPr lang="sv-SE"/>
        </a:p>
      </dgm:t>
    </dgm:pt>
    <dgm:pt modelId="{9EB3461B-22C9-4E53-861A-8FB1A9D4F4F2}">
      <dgm:prSet phldrT="[Text]"/>
      <dgm:spPr/>
      <dgm:t>
        <a:bodyPr/>
        <a:lstStyle/>
        <a:p>
          <a:r>
            <a:rPr lang="sv-SE"/>
            <a:t>Berör trä, gummi, nötkött, kaffe m.fl. råvaror</a:t>
          </a:r>
        </a:p>
      </dgm:t>
    </dgm:pt>
    <dgm:pt modelId="{979312D9-361E-436C-AAB7-9258D3D13A89}" type="parTrans" cxnId="{095865DC-2686-4464-8614-683CB518EAC0}">
      <dgm:prSet/>
      <dgm:spPr/>
      <dgm:t>
        <a:bodyPr/>
        <a:lstStyle/>
        <a:p>
          <a:endParaRPr lang="sv-SE"/>
        </a:p>
      </dgm:t>
    </dgm:pt>
    <dgm:pt modelId="{F774EC07-5BB8-4149-8852-CF6D87675DE9}" type="sibTrans" cxnId="{095865DC-2686-4464-8614-683CB518EAC0}">
      <dgm:prSet/>
      <dgm:spPr/>
      <dgm:t>
        <a:bodyPr/>
        <a:lstStyle/>
        <a:p>
          <a:r>
            <a:rPr lang="sv-SE"/>
            <a:t>Stoppa avskogning och degenerering av skog</a:t>
          </a:r>
        </a:p>
      </dgm:t>
    </dgm:pt>
    <dgm:pt modelId="{228CCF0E-6703-4EBE-90B9-31A21254D258}">
      <dgm:prSet phldrT="[Text]" custT="1"/>
      <dgm:spPr/>
      <dgm:t>
        <a:bodyPr/>
        <a:lstStyle/>
        <a:p>
          <a:r>
            <a:rPr lang="sv-SE" sz="1100"/>
            <a:t>Bygger på spårbarhet tillbaka till avverknings-trakten</a:t>
          </a:r>
        </a:p>
      </dgm:t>
    </dgm:pt>
    <dgm:pt modelId="{F380C358-705B-4184-B629-F31A7BF5B59B}" type="parTrans" cxnId="{7AA5154C-6672-4AE2-9CFF-0F85920E5ADD}">
      <dgm:prSet/>
      <dgm:spPr/>
      <dgm:t>
        <a:bodyPr/>
        <a:lstStyle/>
        <a:p>
          <a:endParaRPr lang="sv-SE"/>
        </a:p>
      </dgm:t>
    </dgm:pt>
    <dgm:pt modelId="{57906EB4-9C82-4F86-AA27-C0F83C7BEB98}" type="sibTrans" cxnId="{7AA5154C-6672-4AE2-9CFF-0F85920E5ADD}">
      <dgm:prSet custT="1"/>
      <dgm:spPr/>
      <dgm:t>
        <a:bodyPr/>
        <a:lstStyle/>
        <a:p>
          <a:r>
            <a:rPr lang="sv-SE" sz="1400"/>
            <a:t>Alla i affärsleds-kedjan är ansvariga</a:t>
          </a:r>
        </a:p>
      </dgm:t>
    </dgm:pt>
    <dgm:pt modelId="{CE47890C-F398-4015-8497-7AB51C6B1FF5}">
      <dgm:prSet phldrT="[Text]" custT="1"/>
      <dgm:spPr/>
      <dgm:t>
        <a:bodyPr lIns="0" tIns="0" rIns="0" bIns="0"/>
        <a:lstStyle/>
        <a:p>
          <a:r>
            <a:rPr lang="sv-SE" sz="1100"/>
            <a:t>Övervakning av ansvarig nationell myndighet</a:t>
          </a:r>
        </a:p>
      </dgm:t>
    </dgm:pt>
    <dgm:pt modelId="{10157597-E480-4471-9B90-36DA98AC9C0B}" type="parTrans" cxnId="{CDE794C9-89D2-41D6-8E77-46F58E137B4E}">
      <dgm:prSet/>
      <dgm:spPr/>
      <dgm:t>
        <a:bodyPr/>
        <a:lstStyle/>
        <a:p>
          <a:endParaRPr lang="sv-SE"/>
        </a:p>
      </dgm:t>
    </dgm:pt>
    <dgm:pt modelId="{1B43B138-88F4-4F9F-8B90-F91181ED9EA4}" type="sibTrans" cxnId="{CDE794C9-89D2-41D6-8E77-46F58E137B4E}">
      <dgm:prSet/>
      <dgm:spPr/>
      <dgm:t>
        <a:bodyPr/>
        <a:lstStyle/>
        <a:p>
          <a:r>
            <a:rPr lang="sv-SE"/>
            <a:t>En anmälan skall göras till EU</a:t>
          </a:r>
        </a:p>
      </dgm:t>
    </dgm:pt>
    <dgm:pt modelId="{B7E789D6-F371-4DF1-9D23-A538BC737575}">
      <dgm:prSet custT="1"/>
      <dgm:spPr/>
      <dgm:t>
        <a:bodyPr spcFirstLastPara="0" vert="horz" wrap="square" lIns="0" tIns="0" rIns="0" bIns="0" numCol="1" spcCol="1270" anchor="ctr" anchorCtr="0"/>
        <a:lstStyle/>
        <a:p>
          <a:pPr marL="0" lvl="0" indent="0" algn="ctr" defTabSz="622300">
            <a:lnSpc>
              <a:spcPct val="90000"/>
            </a:lnSpc>
            <a:spcBef>
              <a:spcPct val="0"/>
            </a:spcBef>
            <a:spcAft>
              <a:spcPct val="35000"/>
            </a:spcAft>
            <a:buNone/>
          </a:pPr>
          <a:r>
            <a:rPr lang="sv-SE" sz="1400" kern="1200">
              <a:latin typeface="Noto Serif"/>
              <a:ea typeface="+mn-ea"/>
              <a:cs typeface="+mn-cs"/>
            </a:rPr>
            <a:t>Gäller även för förädlade produkter</a:t>
          </a:r>
        </a:p>
      </dgm:t>
    </dgm:pt>
    <dgm:pt modelId="{E9B3380D-74FB-4BBC-A4EF-13CCFBDEA38F}" type="parTrans" cxnId="{E441A0FB-E594-40CB-A0E2-AF4C143834CC}">
      <dgm:prSet/>
      <dgm:spPr/>
      <dgm:t>
        <a:bodyPr/>
        <a:lstStyle/>
        <a:p>
          <a:endParaRPr lang="sv-SE"/>
        </a:p>
      </dgm:t>
    </dgm:pt>
    <dgm:pt modelId="{7278BE4E-C832-43E1-BDF0-44D397E8E357}" type="sibTrans" cxnId="{E441A0FB-E594-40CB-A0E2-AF4C143834CC}">
      <dgm:prSet/>
      <dgm:spPr/>
      <dgm:t>
        <a:bodyPr/>
        <a:lstStyle/>
        <a:p>
          <a:r>
            <a:rPr lang="sv-SE"/>
            <a:t>Gäller även producenter utanför EU</a:t>
          </a:r>
        </a:p>
      </dgm:t>
    </dgm:pt>
    <dgm:pt modelId="{4D715B79-4D0E-48E1-987B-DCD4AC56BCB2}" type="pres">
      <dgm:prSet presAssocID="{E85D7D49-570C-4C21-B259-327C7EA2BACB}" presName="Name0" presStyleCnt="0">
        <dgm:presLayoutVars>
          <dgm:chMax/>
          <dgm:chPref/>
          <dgm:dir/>
          <dgm:animLvl val="lvl"/>
        </dgm:presLayoutVars>
      </dgm:prSet>
      <dgm:spPr/>
    </dgm:pt>
    <dgm:pt modelId="{338139D1-F179-4DD3-BB76-47A87DBB779E}" type="pres">
      <dgm:prSet presAssocID="{9EB3461B-22C9-4E53-861A-8FB1A9D4F4F2}" presName="composite" presStyleCnt="0"/>
      <dgm:spPr/>
    </dgm:pt>
    <dgm:pt modelId="{26173671-C8CF-4FB7-BCD4-515889D244B1}" type="pres">
      <dgm:prSet presAssocID="{9EB3461B-22C9-4E53-861A-8FB1A9D4F4F2}" presName="Parent1" presStyleLbl="node1" presStyleIdx="0" presStyleCnt="8">
        <dgm:presLayoutVars>
          <dgm:chMax val="1"/>
          <dgm:chPref val="1"/>
          <dgm:bulletEnabled val="1"/>
        </dgm:presLayoutVars>
      </dgm:prSet>
      <dgm:spPr/>
    </dgm:pt>
    <dgm:pt modelId="{897A5FB8-BA26-4048-9A0F-EF23F0AD3B72}" type="pres">
      <dgm:prSet presAssocID="{9EB3461B-22C9-4E53-861A-8FB1A9D4F4F2}" presName="Childtext1" presStyleLbl="revTx" presStyleIdx="0" presStyleCnt="4">
        <dgm:presLayoutVars>
          <dgm:chMax val="0"/>
          <dgm:chPref val="0"/>
          <dgm:bulletEnabled val="1"/>
        </dgm:presLayoutVars>
      </dgm:prSet>
      <dgm:spPr/>
    </dgm:pt>
    <dgm:pt modelId="{41BE3448-F804-4449-B007-E2A91AB477AF}" type="pres">
      <dgm:prSet presAssocID="{9EB3461B-22C9-4E53-861A-8FB1A9D4F4F2}" presName="BalanceSpacing" presStyleCnt="0"/>
      <dgm:spPr/>
    </dgm:pt>
    <dgm:pt modelId="{D7EE7E86-F305-45FD-BE60-7E85E57CC8FD}" type="pres">
      <dgm:prSet presAssocID="{9EB3461B-22C9-4E53-861A-8FB1A9D4F4F2}" presName="BalanceSpacing1" presStyleCnt="0"/>
      <dgm:spPr/>
    </dgm:pt>
    <dgm:pt modelId="{1667B9A3-AB5D-42B9-A34D-CE550D9FA3A7}" type="pres">
      <dgm:prSet presAssocID="{F774EC07-5BB8-4149-8852-CF6D87675DE9}" presName="Accent1Text" presStyleLbl="node1" presStyleIdx="1" presStyleCnt="8"/>
      <dgm:spPr/>
    </dgm:pt>
    <dgm:pt modelId="{A14AD04B-CC64-4AAF-A698-BB336D2D867B}" type="pres">
      <dgm:prSet presAssocID="{F774EC07-5BB8-4149-8852-CF6D87675DE9}" presName="spaceBetweenRectangles" presStyleCnt="0"/>
      <dgm:spPr/>
    </dgm:pt>
    <dgm:pt modelId="{D67F0B59-851A-4B48-9B09-875AE9B492E7}" type="pres">
      <dgm:prSet presAssocID="{B7E789D6-F371-4DF1-9D23-A538BC737575}" presName="composite" presStyleCnt="0"/>
      <dgm:spPr/>
    </dgm:pt>
    <dgm:pt modelId="{13CF83D9-7258-4E72-8681-2B48FA842531}" type="pres">
      <dgm:prSet presAssocID="{B7E789D6-F371-4DF1-9D23-A538BC737575}" presName="Parent1" presStyleLbl="node1" presStyleIdx="2" presStyleCnt="8">
        <dgm:presLayoutVars>
          <dgm:chMax val="1"/>
          <dgm:chPref val="1"/>
          <dgm:bulletEnabled val="1"/>
        </dgm:presLayoutVars>
      </dgm:prSet>
      <dgm:spPr>
        <a:xfrm rot="5400000">
          <a:off x="2921202" y="1398092"/>
          <a:ext cx="1525763" cy="1327414"/>
        </a:xfrm>
        <a:prstGeom prst="hexagon">
          <a:avLst>
            <a:gd name="adj" fmla="val 25000"/>
            <a:gd name="vf" fmla="val 115470"/>
          </a:avLst>
        </a:prstGeom>
      </dgm:spPr>
    </dgm:pt>
    <dgm:pt modelId="{B51B6A7F-B32C-46D2-BB86-4AB735E35E8F}" type="pres">
      <dgm:prSet presAssocID="{B7E789D6-F371-4DF1-9D23-A538BC737575}" presName="Childtext1" presStyleLbl="revTx" presStyleIdx="1" presStyleCnt="4">
        <dgm:presLayoutVars>
          <dgm:chMax val="0"/>
          <dgm:chPref val="0"/>
          <dgm:bulletEnabled val="1"/>
        </dgm:presLayoutVars>
      </dgm:prSet>
      <dgm:spPr/>
    </dgm:pt>
    <dgm:pt modelId="{4FF0E19E-3EEE-4177-A8EC-E39786411727}" type="pres">
      <dgm:prSet presAssocID="{B7E789D6-F371-4DF1-9D23-A538BC737575}" presName="BalanceSpacing" presStyleCnt="0"/>
      <dgm:spPr/>
    </dgm:pt>
    <dgm:pt modelId="{E002835F-849B-4387-8B86-C977BB19F787}" type="pres">
      <dgm:prSet presAssocID="{B7E789D6-F371-4DF1-9D23-A538BC737575}" presName="BalanceSpacing1" presStyleCnt="0"/>
      <dgm:spPr/>
    </dgm:pt>
    <dgm:pt modelId="{6D0BE8D9-FE31-4BC5-AEC6-6C7BCECA9F19}" type="pres">
      <dgm:prSet presAssocID="{7278BE4E-C832-43E1-BDF0-44D397E8E357}" presName="Accent1Text" presStyleLbl="node1" presStyleIdx="3" presStyleCnt="8"/>
      <dgm:spPr/>
    </dgm:pt>
    <dgm:pt modelId="{45DDF57E-3FBE-409F-809D-461FC73005BF}" type="pres">
      <dgm:prSet presAssocID="{7278BE4E-C832-43E1-BDF0-44D397E8E357}" presName="spaceBetweenRectangles" presStyleCnt="0"/>
      <dgm:spPr/>
    </dgm:pt>
    <dgm:pt modelId="{BBD97AE7-9CF2-4907-BD30-698A59AF4D94}" type="pres">
      <dgm:prSet presAssocID="{228CCF0E-6703-4EBE-90B9-31A21254D258}" presName="composite" presStyleCnt="0"/>
      <dgm:spPr/>
    </dgm:pt>
    <dgm:pt modelId="{62FF4182-98A8-461E-AE4D-8DE595C223BE}" type="pres">
      <dgm:prSet presAssocID="{228CCF0E-6703-4EBE-90B9-31A21254D258}" presName="Parent1" presStyleLbl="node1" presStyleIdx="4" presStyleCnt="8" custScaleX="102513">
        <dgm:presLayoutVars>
          <dgm:chMax val="1"/>
          <dgm:chPref val="1"/>
          <dgm:bulletEnabled val="1"/>
        </dgm:presLayoutVars>
      </dgm:prSet>
      <dgm:spPr/>
    </dgm:pt>
    <dgm:pt modelId="{6CB88487-0760-44E0-8A92-94FF8382617F}" type="pres">
      <dgm:prSet presAssocID="{228CCF0E-6703-4EBE-90B9-31A21254D258}" presName="Childtext1" presStyleLbl="revTx" presStyleIdx="2" presStyleCnt="4">
        <dgm:presLayoutVars>
          <dgm:chMax val="0"/>
          <dgm:chPref val="0"/>
          <dgm:bulletEnabled val="1"/>
        </dgm:presLayoutVars>
      </dgm:prSet>
      <dgm:spPr/>
    </dgm:pt>
    <dgm:pt modelId="{86DCD264-9AC5-4CC5-A762-005CA88887F6}" type="pres">
      <dgm:prSet presAssocID="{228CCF0E-6703-4EBE-90B9-31A21254D258}" presName="BalanceSpacing" presStyleCnt="0"/>
      <dgm:spPr/>
    </dgm:pt>
    <dgm:pt modelId="{57305A57-7343-4D74-9DE1-F22F02D53065}" type="pres">
      <dgm:prSet presAssocID="{228CCF0E-6703-4EBE-90B9-31A21254D258}" presName="BalanceSpacing1" presStyleCnt="0"/>
      <dgm:spPr/>
    </dgm:pt>
    <dgm:pt modelId="{05A6CB2C-DC9B-480F-9552-9B279A139AEB}" type="pres">
      <dgm:prSet presAssocID="{57906EB4-9C82-4F86-AA27-C0F83C7BEB98}" presName="Accent1Text" presStyleLbl="node1" presStyleIdx="5" presStyleCnt="8"/>
      <dgm:spPr/>
    </dgm:pt>
    <dgm:pt modelId="{A2653AED-2DD8-478B-98B0-2BB427491E1D}" type="pres">
      <dgm:prSet presAssocID="{57906EB4-9C82-4F86-AA27-C0F83C7BEB98}" presName="spaceBetweenRectangles" presStyleCnt="0"/>
      <dgm:spPr/>
    </dgm:pt>
    <dgm:pt modelId="{7384FB24-F7A5-4BCF-B4BC-D682F28B9F33}" type="pres">
      <dgm:prSet presAssocID="{CE47890C-F398-4015-8497-7AB51C6B1FF5}" presName="composite" presStyleCnt="0"/>
      <dgm:spPr/>
    </dgm:pt>
    <dgm:pt modelId="{1E0062D1-E3F0-4A6C-AB03-1D6F0756783B}" type="pres">
      <dgm:prSet presAssocID="{CE47890C-F398-4015-8497-7AB51C6B1FF5}" presName="Parent1" presStyleLbl="node1" presStyleIdx="6" presStyleCnt="8">
        <dgm:presLayoutVars>
          <dgm:chMax val="1"/>
          <dgm:chPref val="1"/>
          <dgm:bulletEnabled val="1"/>
        </dgm:presLayoutVars>
      </dgm:prSet>
      <dgm:spPr/>
    </dgm:pt>
    <dgm:pt modelId="{77DCE544-7BE8-40B9-8259-E66352D05167}" type="pres">
      <dgm:prSet presAssocID="{CE47890C-F398-4015-8497-7AB51C6B1FF5}" presName="Childtext1" presStyleLbl="revTx" presStyleIdx="3" presStyleCnt="4">
        <dgm:presLayoutVars>
          <dgm:chMax val="0"/>
          <dgm:chPref val="0"/>
          <dgm:bulletEnabled val="1"/>
        </dgm:presLayoutVars>
      </dgm:prSet>
      <dgm:spPr/>
    </dgm:pt>
    <dgm:pt modelId="{9534478B-9DC6-4754-8426-F2E6CA4E4548}" type="pres">
      <dgm:prSet presAssocID="{CE47890C-F398-4015-8497-7AB51C6B1FF5}" presName="BalanceSpacing" presStyleCnt="0"/>
      <dgm:spPr/>
    </dgm:pt>
    <dgm:pt modelId="{6AC49C87-AAE3-4310-874A-D3392642A3FB}" type="pres">
      <dgm:prSet presAssocID="{CE47890C-F398-4015-8497-7AB51C6B1FF5}" presName="BalanceSpacing1" presStyleCnt="0"/>
      <dgm:spPr/>
    </dgm:pt>
    <dgm:pt modelId="{9DC63850-62C6-4711-A584-7AD0E3E7C725}" type="pres">
      <dgm:prSet presAssocID="{1B43B138-88F4-4F9F-8B90-F91181ED9EA4}" presName="Accent1Text" presStyleLbl="node1" presStyleIdx="7" presStyleCnt="8"/>
      <dgm:spPr/>
    </dgm:pt>
  </dgm:ptLst>
  <dgm:cxnLst>
    <dgm:cxn modelId="{C0CBB03C-499A-4ACC-AA28-D67DA6C99196}" type="presOf" srcId="{228CCF0E-6703-4EBE-90B9-31A21254D258}" destId="{62FF4182-98A8-461E-AE4D-8DE595C223BE}" srcOrd="0" destOrd="0" presId="urn:microsoft.com/office/officeart/2008/layout/AlternatingHexagons"/>
    <dgm:cxn modelId="{7AA5154C-6672-4AE2-9CFF-0F85920E5ADD}" srcId="{E85D7D49-570C-4C21-B259-327C7EA2BACB}" destId="{228CCF0E-6703-4EBE-90B9-31A21254D258}" srcOrd="2" destOrd="0" parTransId="{F380C358-705B-4184-B629-F31A7BF5B59B}" sibTransId="{57906EB4-9C82-4F86-AA27-C0F83C7BEB98}"/>
    <dgm:cxn modelId="{D77A656F-8336-4039-A768-2AB8157539DB}" type="presOf" srcId="{E85D7D49-570C-4C21-B259-327C7EA2BACB}" destId="{4D715B79-4D0E-48E1-987B-DCD4AC56BCB2}" srcOrd="0" destOrd="0" presId="urn:microsoft.com/office/officeart/2008/layout/AlternatingHexagons"/>
    <dgm:cxn modelId="{FBCF0473-42C6-4FB5-AEE1-31AE1D46D272}" type="presOf" srcId="{F774EC07-5BB8-4149-8852-CF6D87675DE9}" destId="{1667B9A3-AB5D-42B9-A34D-CE550D9FA3A7}" srcOrd="0" destOrd="0" presId="urn:microsoft.com/office/officeart/2008/layout/AlternatingHexagons"/>
    <dgm:cxn modelId="{DE4B2079-41BB-4825-B27C-0B4CBC1085FC}" type="presOf" srcId="{7278BE4E-C832-43E1-BDF0-44D397E8E357}" destId="{6D0BE8D9-FE31-4BC5-AEC6-6C7BCECA9F19}" srcOrd="0" destOrd="0" presId="urn:microsoft.com/office/officeart/2008/layout/AlternatingHexagons"/>
    <dgm:cxn modelId="{1826C183-1C70-4586-872D-D546D27384BA}" type="presOf" srcId="{9EB3461B-22C9-4E53-861A-8FB1A9D4F4F2}" destId="{26173671-C8CF-4FB7-BCD4-515889D244B1}" srcOrd="0" destOrd="0" presId="urn:microsoft.com/office/officeart/2008/layout/AlternatingHexagons"/>
    <dgm:cxn modelId="{02E7E792-20F1-4FFE-989B-2937E096B444}" type="presOf" srcId="{1B43B138-88F4-4F9F-8B90-F91181ED9EA4}" destId="{9DC63850-62C6-4711-A584-7AD0E3E7C725}" srcOrd="0" destOrd="0" presId="urn:microsoft.com/office/officeart/2008/layout/AlternatingHexagons"/>
    <dgm:cxn modelId="{CDE794C9-89D2-41D6-8E77-46F58E137B4E}" srcId="{E85D7D49-570C-4C21-B259-327C7EA2BACB}" destId="{CE47890C-F398-4015-8497-7AB51C6B1FF5}" srcOrd="3" destOrd="0" parTransId="{10157597-E480-4471-9B90-36DA98AC9C0B}" sibTransId="{1B43B138-88F4-4F9F-8B90-F91181ED9EA4}"/>
    <dgm:cxn modelId="{6C36EECC-C0D4-4044-B354-A31739A3649C}" type="presOf" srcId="{CE47890C-F398-4015-8497-7AB51C6B1FF5}" destId="{1E0062D1-E3F0-4A6C-AB03-1D6F0756783B}" srcOrd="0" destOrd="0" presId="urn:microsoft.com/office/officeart/2008/layout/AlternatingHexagons"/>
    <dgm:cxn modelId="{095865DC-2686-4464-8614-683CB518EAC0}" srcId="{E85D7D49-570C-4C21-B259-327C7EA2BACB}" destId="{9EB3461B-22C9-4E53-861A-8FB1A9D4F4F2}" srcOrd="0" destOrd="0" parTransId="{979312D9-361E-436C-AAB7-9258D3D13A89}" sibTransId="{F774EC07-5BB8-4149-8852-CF6D87675DE9}"/>
    <dgm:cxn modelId="{82D3CAF5-7B07-47C0-BB9D-81FF6738F381}" type="presOf" srcId="{57906EB4-9C82-4F86-AA27-C0F83C7BEB98}" destId="{05A6CB2C-DC9B-480F-9552-9B279A139AEB}" srcOrd="0" destOrd="0" presId="urn:microsoft.com/office/officeart/2008/layout/AlternatingHexagons"/>
    <dgm:cxn modelId="{E441A0FB-E594-40CB-A0E2-AF4C143834CC}" srcId="{E85D7D49-570C-4C21-B259-327C7EA2BACB}" destId="{B7E789D6-F371-4DF1-9D23-A538BC737575}" srcOrd="1" destOrd="0" parTransId="{E9B3380D-74FB-4BBC-A4EF-13CCFBDEA38F}" sibTransId="{7278BE4E-C832-43E1-BDF0-44D397E8E357}"/>
    <dgm:cxn modelId="{6FC1DBFF-A364-4C04-BD81-360A6D5E2F64}" type="presOf" srcId="{B7E789D6-F371-4DF1-9D23-A538BC737575}" destId="{13CF83D9-7258-4E72-8681-2B48FA842531}" srcOrd="0" destOrd="0" presId="urn:microsoft.com/office/officeart/2008/layout/AlternatingHexagons"/>
    <dgm:cxn modelId="{BBFA52B7-43B6-4492-904A-523A7F729DFA}" type="presParOf" srcId="{4D715B79-4D0E-48E1-987B-DCD4AC56BCB2}" destId="{338139D1-F179-4DD3-BB76-47A87DBB779E}" srcOrd="0" destOrd="0" presId="urn:microsoft.com/office/officeart/2008/layout/AlternatingHexagons"/>
    <dgm:cxn modelId="{7A8323B1-C5C3-43EA-93AA-DB095EDC166E}" type="presParOf" srcId="{338139D1-F179-4DD3-BB76-47A87DBB779E}" destId="{26173671-C8CF-4FB7-BCD4-515889D244B1}" srcOrd="0" destOrd="0" presId="urn:microsoft.com/office/officeart/2008/layout/AlternatingHexagons"/>
    <dgm:cxn modelId="{1169C786-964D-4F2B-9F66-5A1815982187}" type="presParOf" srcId="{338139D1-F179-4DD3-BB76-47A87DBB779E}" destId="{897A5FB8-BA26-4048-9A0F-EF23F0AD3B72}" srcOrd="1" destOrd="0" presId="urn:microsoft.com/office/officeart/2008/layout/AlternatingHexagons"/>
    <dgm:cxn modelId="{5438BB68-F6F3-4686-9AC9-B934257CA6F2}" type="presParOf" srcId="{338139D1-F179-4DD3-BB76-47A87DBB779E}" destId="{41BE3448-F804-4449-B007-E2A91AB477AF}" srcOrd="2" destOrd="0" presId="urn:microsoft.com/office/officeart/2008/layout/AlternatingHexagons"/>
    <dgm:cxn modelId="{BDB72DC7-93A9-4970-ABA6-AE9395C7B9F3}" type="presParOf" srcId="{338139D1-F179-4DD3-BB76-47A87DBB779E}" destId="{D7EE7E86-F305-45FD-BE60-7E85E57CC8FD}" srcOrd="3" destOrd="0" presId="urn:microsoft.com/office/officeart/2008/layout/AlternatingHexagons"/>
    <dgm:cxn modelId="{FB7D0401-FE09-41C4-8272-FBD3E4F756AB}" type="presParOf" srcId="{338139D1-F179-4DD3-BB76-47A87DBB779E}" destId="{1667B9A3-AB5D-42B9-A34D-CE550D9FA3A7}" srcOrd="4" destOrd="0" presId="urn:microsoft.com/office/officeart/2008/layout/AlternatingHexagons"/>
    <dgm:cxn modelId="{683185D9-AA79-432C-87FC-2EF9ECF26634}" type="presParOf" srcId="{4D715B79-4D0E-48E1-987B-DCD4AC56BCB2}" destId="{A14AD04B-CC64-4AAF-A698-BB336D2D867B}" srcOrd="1" destOrd="0" presId="urn:microsoft.com/office/officeart/2008/layout/AlternatingHexagons"/>
    <dgm:cxn modelId="{F31587EE-54CB-493F-B383-5EDC6FC6D993}" type="presParOf" srcId="{4D715B79-4D0E-48E1-987B-DCD4AC56BCB2}" destId="{D67F0B59-851A-4B48-9B09-875AE9B492E7}" srcOrd="2" destOrd="0" presId="urn:microsoft.com/office/officeart/2008/layout/AlternatingHexagons"/>
    <dgm:cxn modelId="{5D9BE126-9AC6-444D-A4DE-37DFE8071887}" type="presParOf" srcId="{D67F0B59-851A-4B48-9B09-875AE9B492E7}" destId="{13CF83D9-7258-4E72-8681-2B48FA842531}" srcOrd="0" destOrd="0" presId="urn:microsoft.com/office/officeart/2008/layout/AlternatingHexagons"/>
    <dgm:cxn modelId="{C57231A9-B03A-488B-911B-A1BD40CA5CD3}" type="presParOf" srcId="{D67F0B59-851A-4B48-9B09-875AE9B492E7}" destId="{B51B6A7F-B32C-46D2-BB86-4AB735E35E8F}" srcOrd="1" destOrd="0" presId="urn:microsoft.com/office/officeart/2008/layout/AlternatingHexagons"/>
    <dgm:cxn modelId="{AAE2D848-BCCA-492A-982D-B73DA3B5DDAB}" type="presParOf" srcId="{D67F0B59-851A-4B48-9B09-875AE9B492E7}" destId="{4FF0E19E-3EEE-4177-A8EC-E39786411727}" srcOrd="2" destOrd="0" presId="urn:microsoft.com/office/officeart/2008/layout/AlternatingHexagons"/>
    <dgm:cxn modelId="{B68870B0-E158-4DD8-8995-2352D3502F09}" type="presParOf" srcId="{D67F0B59-851A-4B48-9B09-875AE9B492E7}" destId="{E002835F-849B-4387-8B86-C977BB19F787}" srcOrd="3" destOrd="0" presId="urn:microsoft.com/office/officeart/2008/layout/AlternatingHexagons"/>
    <dgm:cxn modelId="{AE900405-B768-4735-A4E1-D587AD42ABD0}" type="presParOf" srcId="{D67F0B59-851A-4B48-9B09-875AE9B492E7}" destId="{6D0BE8D9-FE31-4BC5-AEC6-6C7BCECA9F19}" srcOrd="4" destOrd="0" presId="urn:microsoft.com/office/officeart/2008/layout/AlternatingHexagons"/>
    <dgm:cxn modelId="{25B3313F-5FBA-4250-8A47-42170E6C213A}" type="presParOf" srcId="{4D715B79-4D0E-48E1-987B-DCD4AC56BCB2}" destId="{45DDF57E-3FBE-409F-809D-461FC73005BF}" srcOrd="3" destOrd="0" presId="urn:microsoft.com/office/officeart/2008/layout/AlternatingHexagons"/>
    <dgm:cxn modelId="{FEF273A2-FAB5-4AA1-9711-3A35344F4F2F}" type="presParOf" srcId="{4D715B79-4D0E-48E1-987B-DCD4AC56BCB2}" destId="{BBD97AE7-9CF2-4907-BD30-698A59AF4D94}" srcOrd="4" destOrd="0" presId="urn:microsoft.com/office/officeart/2008/layout/AlternatingHexagons"/>
    <dgm:cxn modelId="{4CD99BA8-C8AA-4F0B-ABEE-48E7D360F88C}" type="presParOf" srcId="{BBD97AE7-9CF2-4907-BD30-698A59AF4D94}" destId="{62FF4182-98A8-461E-AE4D-8DE595C223BE}" srcOrd="0" destOrd="0" presId="urn:microsoft.com/office/officeart/2008/layout/AlternatingHexagons"/>
    <dgm:cxn modelId="{F96F897F-3C4C-4A6C-8409-9180F2CCFACE}" type="presParOf" srcId="{BBD97AE7-9CF2-4907-BD30-698A59AF4D94}" destId="{6CB88487-0760-44E0-8A92-94FF8382617F}" srcOrd="1" destOrd="0" presId="urn:microsoft.com/office/officeart/2008/layout/AlternatingHexagons"/>
    <dgm:cxn modelId="{56698AF9-5448-49AE-B932-5E76BDC3A186}" type="presParOf" srcId="{BBD97AE7-9CF2-4907-BD30-698A59AF4D94}" destId="{86DCD264-9AC5-4CC5-A762-005CA88887F6}" srcOrd="2" destOrd="0" presId="urn:microsoft.com/office/officeart/2008/layout/AlternatingHexagons"/>
    <dgm:cxn modelId="{C75AE107-09A0-48B4-A10D-FDC9D33E445F}" type="presParOf" srcId="{BBD97AE7-9CF2-4907-BD30-698A59AF4D94}" destId="{57305A57-7343-4D74-9DE1-F22F02D53065}" srcOrd="3" destOrd="0" presId="urn:microsoft.com/office/officeart/2008/layout/AlternatingHexagons"/>
    <dgm:cxn modelId="{2C7FD4EF-6DCD-4A1D-B7DE-2EFBBD1AA91A}" type="presParOf" srcId="{BBD97AE7-9CF2-4907-BD30-698A59AF4D94}" destId="{05A6CB2C-DC9B-480F-9552-9B279A139AEB}" srcOrd="4" destOrd="0" presId="urn:microsoft.com/office/officeart/2008/layout/AlternatingHexagons"/>
    <dgm:cxn modelId="{C171FF7C-CD17-4F3C-AFD8-0CD88B5642AA}" type="presParOf" srcId="{4D715B79-4D0E-48E1-987B-DCD4AC56BCB2}" destId="{A2653AED-2DD8-478B-98B0-2BB427491E1D}" srcOrd="5" destOrd="0" presId="urn:microsoft.com/office/officeart/2008/layout/AlternatingHexagons"/>
    <dgm:cxn modelId="{5DE47139-37A0-436D-A133-0F17499F4F4F}" type="presParOf" srcId="{4D715B79-4D0E-48E1-987B-DCD4AC56BCB2}" destId="{7384FB24-F7A5-4BCF-B4BC-D682F28B9F33}" srcOrd="6" destOrd="0" presId="urn:microsoft.com/office/officeart/2008/layout/AlternatingHexagons"/>
    <dgm:cxn modelId="{129A8FB8-49B0-479C-A199-D236E55E258B}" type="presParOf" srcId="{7384FB24-F7A5-4BCF-B4BC-D682F28B9F33}" destId="{1E0062D1-E3F0-4A6C-AB03-1D6F0756783B}" srcOrd="0" destOrd="0" presId="urn:microsoft.com/office/officeart/2008/layout/AlternatingHexagons"/>
    <dgm:cxn modelId="{373D98BC-9701-433E-97CF-6879FBC32697}" type="presParOf" srcId="{7384FB24-F7A5-4BCF-B4BC-D682F28B9F33}" destId="{77DCE544-7BE8-40B9-8259-E66352D05167}" srcOrd="1" destOrd="0" presId="urn:microsoft.com/office/officeart/2008/layout/AlternatingHexagons"/>
    <dgm:cxn modelId="{A9D0A99C-9998-47FF-A1DF-031E47FF1795}" type="presParOf" srcId="{7384FB24-F7A5-4BCF-B4BC-D682F28B9F33}" destId="{9534478B-9DC6-4754-8426-F2E6CA4E4548}" srcOrd="2" destOrd="0" presId="urn:microsoft.com/office/officeart/2008/layout/AlternatingHexagons"/>
    <dgm:cxn modelId="{D6AF1B15-E65C-4CFC-BB8F-355FE746AF22}" type="presParOf" srcId="{7384FB24-F7A5-4BCF-B4BC-D682F28B9F33}" destId="{6AC49C87-AAE3-4310-874A-D3392642A3FB}" srcOrd="3" destOrd="0" presId="urn:microsoft.com/office/officeart/2008/layout/AlternatingHexagons"/>
    <dgm:cxn modelId="{900F0512-6B74-42C5-A5B4-D87E5F65A925}" type="presParOf" srcId="{7384FB24-F7A5-4BCF-B4BC-D682F28B9F33}" destId="{9DC63850-62C6-4711-A584-7AD0E3E7C725}" srcOrd="4" destOrd="0" presId="urn:microsoft.com/office/officeart/2008/layout/AlternatingHexagons"/>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054ECCA-6364-4700-AF4D-7B429DE1FEB1}"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sv-SE"/>
        </a:p>
      </dgm:t>
    </dgm:pt>
    <dgm:pt modelId="{62546CCA-9ED4-4FE2-B7AF-6F9F4BB4E802}">
      <dgm:prSet phldrT="[Text]"/>
      <dgm:spPr/>
      <dgm:t>
        <a:bodyPr/>
        <a:lstStyle/>
        <a:p>
          <a:r>
            <a:rPr lang="sv-SE"/>
            <a:t>Information som skickas in till EU</a:t>
          </a:r>
        </a:p>
      </dgm:t>
    </dgm:pt>
    <dgm:pt modelId="{63561D1E-AF54-4483-8851-3D3BEA1D2835}" type="parTrans" cxnId="{F2A58036-ACBF-472A-9C81-1AB58B527EE5}">
      <dgm:prSet/>
      <dgm:spPr/>
      <dgm:t>
        <a:bodyPr/>
        <a:lstStyle/>
        <a:p>
          <a:endParaRPr lang="sv-SE"/>
        </a:p>
      </dgm:t>
    </dgm:pt>
    <dgm:pt modelId="{CBBE2B87-198F-4895-878D-B1F7BD0A5B4F}" type="sibTrans" cxnId="{F2A58036-ACBF-472A-9C81-1AB58B527EE5}">
      <dgm:prSet/>
      <dgm:spPr/>
      <dgm:t>
        <a:bodyPr/>
        <a:lstStyle/>
        <a:p>
          <a:endParaRPr lang="sv-SE"/>
        </a:p>
      </dgm:t>
    </dgm:pt>
    <dgm:pt modelId="{4F4E01A5-0E8C-4641-809D-D38FE4327299}">
      <dgm:prSet phldrT="[Tex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Harmoniserad varukod  för aktuell produkt</a:t>
          </a:r>
          <a:endParaRPr lang="sv-SE"/>
        </a:p>
      </dgm:t>
    </dgm:pt>
    <dgm:pt modelId="{1F757B85-1061-4581-AA31-D1CC1386ED8B}" type="parTrans" cxnId="{A3839EDE-AD8F-4A58-9DD2-4A3A1EDC72F7}">
      <dgm:prSet/>
      <dgm:spPr/>
      <dgm:t>
        <a:bodyPr/>
        <a:lstStyle/>
        <a:p>
          <a:endParaRPr lang="sv-SE"/>
        </a:p>
      </dgm:t>
    </dgm:pt>
    <dgm:pt modelId="{3044FC79-4796-4FB7-8A8A-CA0E15C134EE}" type="sibTrans" cxnId="{A3839EDE-AD8F-4A58-9DD2-4A3A1EDC72F7}">
      <dgm:prSet/>
      <dgm:spPr/>
      <dgm:t>
        <a:bodyPr/>
        <a:lstStyle/>
        <a:p>
          <a:endParaRPr lang="sv-SE"/>
        </a:p>
      </dgm:t>
    </dgm:pt>
    <dgm:pt modelId="{46F1B7F9-453B-4E43-8E26-55117CCCE3DC}">
      <dgm:prSet phldrT="[Tex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Planerad kvantitet uttryckt i vikt, volym eller antal</a:t>
          </a:r>
          <a:endParaRPr lang="sv-SE"/>
        </a:p>
      </dgm:t>
    </dgm:pt>
    <dgm:pt modelId="{3F2F67C4-407D-45D6-8C5F-DB6384A35D20}" type="parTrans" cxnId="{1733DB15-C8CC-436C-A363-6805E3003B8E}">
      <dgm:prSet/>
      <dgm:spPr/>
      <dgm:t>
        <a:bodyPr/>
        <a:lstStyle/>
        <a:p>
          <a:endParaRPr lang="sv-SE"/>
        </a:p>
      </dgm:t>
    </dgm:pt>
    <dgm:pt modelId="{F048E4F7-8F3D-42AA-A11B-89B17E8AFC72}" type="sibTrans" cxnId="{1733DB15-C8CC-436C-A363-6805E3003B8E}">
      <dgm:prSet/>
      <dgm:spPr/>
      <dgm:t>
        <a:bodyPr/>
        <a:lstStyle/>
        <a:p>
          <a:endParaRPr lang="sv-SE"/>
        </a:p>
      </dgm:t>
    </dgm:pt>
    <dgm:pt modelId="{9CC87A2E-0CB4-43B4-B841-F7C1213742B5}">
      <dgm:prSet phldrT="[Text]"/>
      <dgm:spPr/>
      <dgm:t>
        <a:bodyPr/>
        <a:lstStyle/>
        <a:p>
          <a:r>
            <a:rPr lang="sv-SE"/>
            <a:t>Information som skapas av EU-systemet eller anges i VIOL</a:t>
          </a:r>
        </a:p>
      </dgm:t>
    </dgm:pt>
    <dgm:pt modelId="{EB4790B1-375A-4BFB-9949-006520B3E8AB}" type="parTrans" cxnId="{5376B2DE-A106-4466-AB67-60F9F0973C92}">
      <dgm:prSet/>
      <dgm:spPr/>
      <dgm:t>
        <a:bodyPr/>
        <a:lstStyle/>
        <a:p>
          <a:endParaRPr lang="sv-SE"/>
        </a:p>
      </dgm:t>
    </dgm:pt>
    <dgm:pt modelId="{D9F437AC-D594-4A5D-B607-D6888B8E19B6}" type="sibTrans" cxnId="{5376B2DE-A106-4466-AB67-60F9F0973C92}">
      <dgm:prSet/>
      <dgm:spPr/>
      <dgm:t>
        <a:bodyPr/>
        <a:lstStyle/>
        <a:p>
          <a:endParaRPr lang="sv-SE"/>
        </a:p>
      </dgm:t>
    </dgm:pt>
    <dgm:pt modelId="{F5212510-9857-49DE-A5C8-7E90FA791F28}">
      <dgm:prSet phldrT="[Text]"/>
      <dgm:spPr/>
      <dgm:t>
        <a:bodyPr/>
        <a:lstStyle/>
        <a:p>
          <a:r>
            <a:rPr lang="sv-SE" b="0">
              <a:latin typeface="Open Sans SemiBold"/>
              <a:ea typeface="Open Sans SemiBold"/>
              <a:cs typeface="Open Sans SemiBold"/>
            </a:rPr>
            <a:t>EUDR Referensnummer</a:t>
          </a:r>
          <a:endParaRPr lang="sv-SE"/>
        </a:p>
      </dgm:t>
    </dgm:pt>
    <dgm:pt modelId="{1D1DB595-B976-4990-8D92-AA8C11183C96}" type="parTrans" cxnId="{16EFA0F6-BEC3-4355-892F-23A44DAE5DB2}">
      <dgm:prSet/>
      <dgm:spPr/>
      <dgm:t>
        <a:bodyPr/>
        <a:lstStyle/>
        <a:p>
          <a:endParaRPr lang="sv-SE"/>
        </a:p>
      </dgm:t>
    </dgm:pt>
    <dgm:pt modelId="{886C2074-C0B8-40D5-AB8F-A7A6EAAD46D4}" type="sibTrans" cxnId="{16EFA0F6-BEC3-4355-892F-23A44DAE5DB2}">
      <dgm:prSet/>
      <dgm:spPr/>
      <dgm:t>
        <a:bodyPr/>
        <a:lstStyle/>
        <a:p>
          <a:endParaRPr lang="sv-SE"/>
        </a:p>
      </dgm:t>
    </dgm:pt>
    <dgm:pt modelId="{1C96FAE4-6CE4-41E5-847F-C79DD7FD541F}">
      <dgm:prSet phldrT="[Text]"/>
      <dgm:spPr/>
      <dgm:t>
        <a:bodyPr/>
        <a:lstStyle/>
        <a:p>
          <a:r>
            <a:rPr lang="sv-SE" b="0">
              <a:latin typeface="Open Sans SemiBold"/>
              <a:ea typeface="Open Sans SemiBold"/>
              <a:cs typeface="Open Sans SemiBold"/>
            </a:rPr>
            <a:t>EUDR Verifikationsnummer</a:t>
          </a:r>
          <a:endParaRPr lang="sv-SE"/>
        </a:p>
      </dgm:t>
    </dgm:pt>
    <dgm:pt modelId="{4CAEF194-DFF7-4006-A46E-C130E793B71C}" type="parTrans" cxnId="{FB425ED7-8E72-4F8D-ADAE-3C70E0098261}">
      <dgm:prSet/>
      <dgm:spPr/>
      <dgm:t>
        <a:bodyPr/>
        <a:lstStyle/>
        <a:p>
          <a:endParaRPr lang="sv-SE"/>
        </a:p>
      </dgm:t>
    </dgm:pt>
    <dgm:pt modelId="{E967A8F6-F13B-4839-8AB2-298EF78B189F}" type="sibTrans" cxnId="{FB425ED7-8E72-4F8D-ADAE-3C70E0098261}">
      <dgm:prSet/>
      <dgm:spPr/>
      <dgm:t>
        <a:bodyPr/>
        <a:lstStyle/>
        <a:p>
          <a:endParaRPr lang="sv-SE"/>
        </a:p>
      </dgm:t>
    </dgm:pt>
    <dgm:pt modelId="{716996C6-6062-44B7-B611-350236FA86A7}">
      <dgm:prSet phldrT="[Text]"/>
      <dgm:spPr/>
      <dgm:t>
        <a:bodyPr/>
        <a:lstStyle/>
        <a:p>
          <a:r>
            <a:rPr lang="sv-SE"/>
            <a:t>Information som endast finns i  eget system</a:t>
          </a:r>
        </a:p>
      </dgm:t>
    </dgm:pt>
    <dgm:pt modelId="{2424D542-123A-4063-8DD0-21614F1EB002}" type="parTrans" cxnId="{63995232-167E-4267-92F6-A9FB024EA226}">
      <dgm:prSet/>
      <dgm:spPr/>
      <dgm:t>
        <a:bodyPr/>
        <a:lstStyle/>
        <a:p>
          <a:endParaRPr lang="sv-SE"/>
        </a:p>
      </dgm:t>
    </dgm:pt>
    <dgm:pt modelId="{8DD7C4C7-7B73-4416-9215-6522D2E25987}" type="sibTrans" cxnId="{63995232-167E-4267-92F6-A9FB024EA226}">
      <dgm:prSet/>
      <dgm:spPr/>
      <dgm:t>
        <a:bodyPr/>
        <a:lstStyle/>
        <a:p>
          <a:endParaRPr lang="sv-SE"/>
        </a:p>
      </dgm:t>
    </dgm:pt>
    <dgm:pt modelId="{38417F90-2E4C-4AB5-9B75-FD70AA941018}">
      <dgm:prSet phldrT="[Tex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Tidsperiod under vilken produktionen ägt rum</a:t>
          </a:r>
          <a:endParaRPr lang="sv-SE"/>
        </a:p>
      </dgm:t>
    </dgm:pt>
    <dgm:pt modelId="{1A076557-64EA-4F4F-9B78-591EB8016D10}" type="parTrans" cxnId="{E274D2C9-7CE4-4B3D-8877-4C1D7BF0F7A4}">
      <dgm:prSet/>
      <dgm:spPr/>
      <dgm:t>
        <a:bodyPr/>
        <a:lstStyle/>
        <a:p>
          <a:endParaRPr lang="sv-SE"/>
        </a:p>
      </dgm:t>
    </dgm:pt>
    <dgm:pt modelId="{82FFA3C9-E9FB-4404-B1F6-864246B960AC}" type="sibTrans" cxnId="{E274D2C9-7CE4-4B3D-8877-4C1D7BF0F7A4}">
      <dgm:prSet/>
      <dgm:spPr/>
      <dgm:t>
        <a:bodyPr/>
        <a:lstStyle/>
        <a:p>
          <a:endParaRPr lang="sv-SE"/>
        </a:p>
      </dgm:t>
    </dgm:pt>
    <dgm:pt modelId="{151E1713-4770-4B98-9098-876381F41282}">
      <dgm:prSet phldrT="[Tex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b="0" u="sng">
              <a:latin typeface="Open Sans SemiBold" panose="020B0706030804020204" pitchFamily="34" charset="0"/>
              <a:ea typeface="Open Sans SemiBold" panose="020B0706030804020204" pitchFamily="34" charset="0"/>
              <a:cs typeface="Open Sans SemiBold" panose="020B0706030804020204" pitchFamily="34" charset="0"/>
            </a:rPr>
            <a:t>kommer från</a:t>
          </a:r>
          <a:endParaRPr lang="sv-SE"/>
        </a:p>
      </dgm:t>
    </dgm:pt>
    <dgm:pt modelId="{E690E4B7-718B-4ED3-B596-D7FFAD2C06DD}" type="parTrans" cxnId="{EDFAE2C6-69C4-43E5-86DA-0A9539B14135}">
      <dgm:prSet/>
      <dgm:spPr/>
      <dgm:t>
        <a:bodyPr/>
        <a:lstStyle/>
        <a:p>
          <a:endParaRPr lang="sv-SE"/>
        </a:p>
      </dgm:t>
    </dgm:pt>
    <dgm:pt modelId="{CE4F296B-2359-41AA-8F4A-765E77AC70C0}" type="sibTrans" cxnId="{EDFAE2C6-69C4-43E5-86DA-0A9539B14135}">
      <dgm:prSet/>
      <dgm:spPr/>
      <dgm:t>
        <a:bodyPr/>
        <a:lstStyle/>
        <a:p>
          <a:endParaRPr lang="sv-SE"/>
        </a:p>
      </dgm:t>
    </dgm:pt>
    <dgm:pt modelId="{F88D122F-14FB-46FF-A54D-A4277C7E5779}">
      <dgm:prSe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Namn och adress på verksamhetsutövaren</a:t>
          </a:r>
        </a:p>
      </dgm:t>
    </dgm:pt>
    <dgm:pt modelId="{0600627F-E4C0-4B71-A314-78369D63741E}" type="parTrans" cxnId="{C189F983-889D-4ADB-9F0B-DE1541C4EA06}">
      <dgm:prSet/>
      <dgm:spPr/>
      <dgm:t>
        <a:bodyPr/>
        <a:lstStyle/>
        <a:p>
          <a:endParaRPr lang="sv-SE"/>
        </a:p>
      </dgm:t>
    </dgm:pt>
    <dgm:pt modelId="{B5121F06-FD04-44EB-AB26-3FFE7EF6F09C}" type="sibTrans" cxnId="{C189F983-889D-4ADB-9F0B-DE1541C4EA06}">
      <dgm:prSet/>
      <dgm:spPr/>
      <dgm:t>
        <a:bodyPr/>
        <a:lstStyle/>
        <a:p>
          <a:endParaRPr lang="sv-SE"/>
        </a:p>
      </dgm:t>
    </dgm:pt>
    <dgm:pt modelId="{BE8A4983-9D6F-479E-AE9B-367A5229E2E2}">
      <dgm:prSet/>
      <dgm:spPr/>
      <dgm:t>
        <a:bodyPr/>
        <a:lstStyle/>
        <a:p>
          <a:r>
            <a:rPr lang="sv-SE"/>
            <a:t>Handelsnamn på produkten</a:t>
          </a:r>
        </a:p>
      </dgm:t>
    </dgm:pt>
    <dgm:pt modelId="{DBAC1BD5-B2B7-4BC2-AB32-1692A2A6700A}" type="parTrans" cxnId="{84FE7CEA-429F-4FB2-A5F2-7FDAB457EC36}">
      <dgm:prSet/>
      <dgm:spPr/>
      <dgm:t>
        <a:bodyPr/>
        <a:lstStyle/>
        <a:p>
          <a:endParaRPr lang="sv-SE"/>
        </a:p>
      </dgm:t>
    </dgm:pt>
    <dgm:pt modelId="{1FBA6C22-FF4A-4EC5-87CC-6431FA195861}" type="sibTrans" cxnId="{84FE7CEA-429F-4FB2-A5F2-7FDAB457EC36}">
      <dgm:prSet/>
      <dgm:spPr/>
      <dgm:t>
        <a:bodyPr/>
        <a:lstStyle/>
        <a:p>
          <a:endParaRPr lang="sv-SE"/>
        </a:p>
      </dgm:t>
    </dgm:pt>
    <dgm:pt modelId="{B0CCB24D-F3E9-4941-B050-635A42573845}">
      <dgm:prSet/>
      <dgm:spPr/>
      <dgm:t>
        <a:bodyPr/>
        <a:lstStyle/>
        <a:p>
          <a:r>
            <a:rPr lang="sv-SE" b="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rPr>
            <a:t>Vetenskapligt namn för trädslaget</a:t>
          </a:r>
        </a:p>
      </dgm:t>
    </dgm:pt>
    <dgm:pt modelId="{1DF2C41D-FAE8-43C9-8C2D-79F55C75F53B}" type="parTrans" cxnId="{B5E1881F-CDD9-4D83-8E0B-3BBE25D388B8}">
      <dgm:prSet/>
      <dgm:spPr/>
      <dgm:t>
        <a:bodyPr/>
        <a:lstStyle/>
        <a:p>
          <a:endParaRPr lang="sv-SE"/>
        </a:p>
      </dgm:t>
    </dgm:pt>
    <dgm:pt modelId="{9DC3FE64-8F0F-4F00-9732-11C51A390D2D}" type="sibTrans" cxnId="{B5E1881F-CDD9-4D83-8E0B-3BBE25D388B8}">
      <dgm:prSet/>
      <dgm:spPr/>
      <dgm:t>
        <a:bodyPr/>
        <a:lstStyle/>
        <a:p>
          <a:endParaRPr lang="sv-SE"/>
        </a:p>
      </dgm:t>
    </dgm:pt>
    <dgm:pt modelId="{22D3FA0E-F8B4-4543-9A10-17245892581A}">
      <dgm:prSet/>
      <dgm:spPr/>
      <dgm:t>
        <a:bodyPr/>
        <a:lstStyle/>
        <a:p>
          <a:r>
            <a:rPr lang="sv-SE" b="0">
              <a:latin typeface="Open Sans SemiBold"/>
              <a:ea typeface="Open Sans SemiBold"/>
              <a:cs typeface="Open Sans SemiBold"/>
            </a:rPr>
            <a:t>Produktionsland</a:t>
          </a:r>
        </a:p>
      </dgm:t>
    </dgm:pt>
    <dgm:pt modelId="{503E30C7-4DD8-4540-8645-9552747291AA}" type="parTrans" cxnId="{05EA94D1-E599-4EAB-8B09-8AF1B2FD1EC4}">
      <dgm:prSet/>
      <dgm:spPr/>
      <dgm:t>
        <a:bodyPr/>
        <a:lstStyle/>
        <a:p>
          <a:endParaRPr lang="sv-SE"/>
        </a:p>
      </dgm:t>
    </dgm:pt>
    <dgm:pt modelId="{F43C94A4-03F8-4F59-9153-7BA2558E724B}" type="sibTrans" cxnId="{05EA94D1-E599-4EAB-8B09-8AF1B2FD1EC4}">
      <dgm:prSet/>
      <dgm:spPr/>
      <dgm:t>
        <a:bodyPr/>
        <a:lstStyle/>
        <a:p>
          <a:endParaRPr lang="sv-SE"/>
        </a:p>
      </dgm:t>
    </dgm:pt>
    <dgm:pt modelId="{3AA64EEF-30A9-48AB-877A-7C1B7F3911C6}">
      <dgm:prSet/>
      <dgm:spPr/>
      <dgm:t>
        <a:bodyPr/>
        <a:lstStyle/>
        <a:p>
          <a:r>
            <a:rPr lang="sv-SE" b="0">
              <a:latin typeface="Open Sans SemiBold"/>
              <a:ea typeface="Open Sans SemiBold"/>
              <a:cs typeface="Open Sans SemiBold"/>
            </a:rPr>
            <a:t>Geografiskt ursprung uttryckt som centrumkoordinat eller geografisk yta  </a:t>
          </a:r>
          <a:endParaRPr lang="sv-SE" b="0">
            <a:latin typeface="Open Sans SemiBold" panose="020B0706030804020204" pitchFamily="34" charset="0"/>
            <a:ea typeface="Open Sans SemiBold" panose="020B0706030804020204" pitchFamily="34" charset="0"/>
            <a:cs typeface="Open Sans SemiBold" panose="020B0706030804020204" pitchFamily="34" charset="0"/>
          </a:endParaRPr>
        </a:p>
      </dgm:t>
    </dgm:pt>
    <dgm:pt modelId="{816F3513-40D6-4C6A-9157-81191E36073D}" type="parTrans" cxnId="{457A0630-F101-45EF-A89F-B76B89988364}">
      <dgm:prSet/>
      <dgm:spPr/>
      <dgm:t>
        <a:bodyPr/>
        <a:lstStyle/>
        <a:p>
          <a:endParaRPr lang="sv-SE"/>
        </a:p>
      </dgm:t>
    </dgm:pt>
    <dgm:pt modelId="{89898161-E98E-4091-BAEA-BADD984FF4C0}" type="sibTrans" cxnId="{457A0630-F101-45EF-A89F-B76B89988364}">
      <dgm:prSet/>
      <dgm:spPr/>
      <dgm:t>
        <a:bodyPr/>
        <a:lstStyle/>
        <a:p>
          <a:endParaRPr lang="sv-SE"/>
        </a:p>
      </dgm:t>
    </dgm:pt>
    <dgm:pt modelId="{403C6ED8-5D6D-4063-BC79-F662E85014AC}">
      <dgm:prSet/>
      <dgm:spPr/>
      <dgm:t>
        <a:bodyPr/>
        <a:lstStyle/>
        <a:p>
          <a:r>
            <a:rPr lang="sv-SE" b="0">
              <a:latin typeface="Open Sans SemiBold"/>
              <a:ea typeface="Open Sans SemiBold"/>
              <a:cs typeface="Open Sans SemiBold"/>
            </a:rPr>
            <a:t>Referensnummer från tidigare anmälningar som ingår i den aktuella.</a:t>
          </a:r>
        </a:p>
      </dgm:t>
    </dgm:pt>
    <dgm:pt modelId="{52F2C38C-3DC8-4E1B-9C2A-31DD1ECCEC5D}" type="parTrans" cxnId="{29D45FA1-074C-4C7D-89AC-80D3CB616A48}">
      <dgm:prSet/>
      <dgm:spPr/>
      <dgm:t>
        <a:bodyPr/>
        <a:lstStyle/>
        <a:p>
          <a:endParaRPr lang="sv-SE"/>
        </a:p>
      </dgm:t>
    </dgm:pt>
    <dgm:pt modelId="{76257113-90A6-4421-972E-09FD30DE3AE2}" type="sibTrans" cxnId="{29D45FA1-074C-4C7D-89AC-80D3CB616A48}">
      <dgm:prSet/>
      <dgm:spPr/>
      <dgm:t>
        <a:bodyPr/>
        <a:lstStyle/>
        <a:p>
          <a:endParaRPr lang="sv-SE"/>
        </a:p>
      </dgm:t>
    </dgm:pt>
    <dgm:pt modelId="{05A729DB-5A3F-4148-92AA-ACA2B5101230}">
      <dgm:prSet/>
      <dgm:spPr/>
      <dgm:t>
        <a:bodyPr/>
        <a:lstStyle/>
        <a:p>
          <a:r>
            <a:rPr lang="sv-SE"/>
            <a:t>”Flaggan”  EUDR stöd ej begärt</a:t>
          </a:r>
        </a:p>
      </dgm:t>
    </dgm:pt>
    <dgm:pt modelId="{98EA6903-8ADF-4C16-B9E7-A9A3B208E7AD}" type="parTrans" cxnId="{00006AE0-234B-4A0C-80BA-CC31A378DBA9}">
      <dgm:prSet/>
      <dgm:spPr/>
      <dgm:t>
        <a:bodyPr/>
        <a:lstStyle/>
        <a:p>
          <a:endParaRPr lang="sv-SE"/>
        </a:p>
      </dgm:t>
    </dgm:pt>
    <dgm:pt modelId="{69CA5572-0005-4A71-BBDB-7D5270225D2E}" type="sibTrans" cxnId="{00006AE0-234B-4A0C-80BA-CC31A378DBA9}">
      <dgm:prSet/>
      <dgm:spPr/>
      <dgm:t>
        <a:bodyPr/>
        <a:lstStyle/>
        <a:p>
          <a:endParaRPr lang="sv-SE"/>
        </a:p>
      </dgm:t>
    </dgm:pt>
    <dgm:pt modelId="{FA0977D6-76D5-49FD-B3D7-E2BD3984FC5B}">
      <dgm:prSe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b="0" u="sng">
              <a:latin typeface="Open Sans SemiBold" panose="020B0706030804020204" pitchFamily="34" charset="0"/>
              <a:ea typeface="Open Sans SemiBold" panose="020B0706030804020204" pitchFamily="34" charset="0"/>
              <a:cs typeface="Open Sans SemiBold" panose="020B0706030804020204" pitchFamily="34" charset="0"/>
            </a:rPr>
            <a:t>levererats till</a:t>
          </a:r>
        </a:p>
      </dgm:t>
    </dgm:pt>
    <dgm:pt modelId="{8C06E977-44E2-4272-AF0A-AF4AE0B44ABC}" type="parTrans" cxnId="{7D603B0F-BF05-481A-91B4-D3E093767AED}">
      <dgm:prSet/>
      <dgm:spPr/>
      <dgm:t>
        <a:bodyPr/>
        <a:lstStyle/>
        <a:p>
          <a:endParaRPr lang="sv-SE"/>
        </a:p>
      </dgm:t>
    </dgm:pt>
    <dgm:pt modelId="{54C03FB9-5564-4BD1-9C5C-B564CCA50597}" type="sibTrans" cxnId="{7D603B0F-BF05-481A-91B4-D3E093767AED}">
      <dgm:prSet/>
      <dgm:spPr/>
      <dgm:t>
        <a:bodyPr/>
        <a:lstStyle/>
        <a:p>
          <a:endParaRPr lang="sv-SE"/>
        </a:p>
      </dgm:t>
    </dgm:pt>
    <dgm:pt modelId="{DED7723F-3F3C-4670-A85F-8DD2C32E4159}">
      <dgm:prSet/>
      <dgm:spPr/>
      <dgm:t>
        <a:bodyPr/>
        <a:lstStyle/>
        <a:p>
          <a:r>
            <a:rPr lang="sv-SE" b="0" noProof="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rPr>
            <a:t>Tillräcklig, entydig och verifierbar information om att produkterna uppfyller kraven i förordningen </a:t>
          </a:r>
          <a:endParaRPr lang="sv-SE">
            <a:solidFill>
              <a:schemeClr val="bg2"/>
            </a:solidFill>
          </a:endParaRPr>
        </a:p>
      </dgm:t>
    </dgm:pt>
    <dgm:pt modelId="{72063C72-20FE-4EA4-BECD-263387D40A31}" type="parTrans" cxnId="{21B691B8-3805-4A7C-B7B1-DB2B52D8159A}">
      <dgm:prSet/>
      <dgm:spPr/>
      <dgm:t>
        <a:bodyPr/>
        <a:lstStyle/>
        <a:p>
          <a:endParaRPr lang="sv-SE"/>
        </a:p>
      </dgm:t>
    </dgm:pt>
    <dgm:pt modelId="{BB7FED55-ED1D-41DC-8119-239AB8D91BB3}" type="sibTrans" cxnId="{21B691B8-3805-4A7C-B7B1-DB2B52D8159A}">
      <dgm:prSet/>
      <dgm:spPr/>
      <dgm:t>
        <a:bodyPr/>
        <a:lstStyle/>
        <a:p>
          <a:endParaRPr lang="sv-SE"/>
        </a:p>
      </dgm:t>
    </dgm:pt>
    <dgm:pt modelId="{6EE28B47-5C7C-47C2-A296-036F00B4B5F3}">
      <dgm:prSet/>
      <dgm:spPr/>
      <dgm:t>
        <a:bodyPr/>
        <a:lstStyle/>
        <a:p>
          <a:r>
            <a:rPr lang="sv-SE" b="0">
              <a:latin typeface="Open Sans SemiBold" panose="020B0706030804020204" pitchFamily="34" charset="0"/>
              <a:ea typeface="Open Sans SemiBold" panose="020B0706030804020204" pitchFamily="34" charset="0"/>
              <a:cs typeface="Open Sans SemiBold" panose="020B0706030804020204" pitchFamily="34" charset="0"/>
            </a:rPr>
            <a:t>Riskbedömning</a:t>
          </a:r>
          <a:endParaRPr lang="sv-SE"/>
        </a:p>
      </dgm:t>
    </dgm:pt>
    <dgm:pt modelId="{5EDEAA32-3307-4B26-B141-4FF15B9256DC}" type="parTrans" cxnId="{2EEB4799-246A-4139-8544-E9B09B73EA17}">
      <dgm:prSet/>
      <dgm:spPr/>
      <dgm:t>
        <a:bodyPr/>
        <a:lstStyle/>
        <a:p>
          <a:endParaRPr lang="sv-SE"/>
        </a:p>
      </dgm:t>
    </dgm:pt>
    <dgm:pt modelId="{71401E2E-C0E1-4D67-A797-763C38B7B72B}" type="sibTrans" cxnId="{2EEB4799-246A-4139-8544-E9B09B73EA17}">
      <dgm:prSet/>
      <dgm:spPr/>
      <dgm:t>
        <a:bodyPr/>
        <a:lstStyle/>
        <a:p>
          <a:endParaRPr lang="sv-SE"/>
        </a:p>
      </dgm:t>
    </dgm:pt>
    <dgm:pt modelId="{68A2BE78-EA18-4D03-81F6-1F7A1235828E}">
      <dgm:prSet/>
      <dgm:spPr/>
      <dgm:t>
        <a:bodyPr/>
        <a:lstStyle/>
        <a:p>
          <a:endParaRPr lang="sv-SE"/>
        </a:p>
      </dgm:t>
    </dgm:pt>
    <dgm:pt modelId="{F6E46E13-419D-4F84-A812-4EB35522191D}" type="sibTrans" cxnId="{A7D41ACE-99CD-407C-B720-68279B4AA669}">
      <dgm:prSet/>
      <dgm:spPr/>
      <dgm:t>
        <a:bodyPr/>
        <a:lstStyle/>
        <a:p>
          <a:endParaRPr lang="sv-SE"/>
        </a:p>
      </dgm:t>
    </dgm:pt>
    <dgm:pt modelId="{EEC23D00-6698-42D8-A78F-099DF16243BF}" type="parTrans" cxnId="{A7D41ACE-99CD-407C-B720-68279B4AA669}">
      <dgm:prSet/>
      <dgm:spPr/>
      <dgm:t>
        <a:bodyPr/>
        <a:lstStyle/>
        <a:p>
          <a:endParaRPr lang="sv-SE"/>
        </a:p>
      </dgm:t>
    </dgm:pt>
    <dgm:pt modelId="{E8F96356-88A4-4762-90BC-EB64C2784057}" type="pres">
      <dgm:prSet presAssocID="{7054ECCA-6364-4700-AF4D-7B429DE1FEB1}" presName="theList" presStyleCnt="0">
        <dgm:presLayoutVars>
          <dgm:dir/>
          <dgm:animLvl val="lvl"/>
          <dgm:resizeHandles val="exact"/>
        </dgm:presLayoutVars>
      </dgm:prSet>
      <dgm:spPr/>
    </dgm:pt>
    <dgm:pt modelId="{0F3EBB29-779B-455D-AB30-0E28B2FD89DE}" type="pres">
      <dgm:prSet presAssocID="{62546CCA-9ED4-4FE2-B7AF-6F9F4BB4E802}" presName="compNode" presStyleCnt="0"/>
      <dgm:spPr/>
    </dgm:pt>
    <dgm:pt modelId="{9D11A7F4-FBDC-4D1E-9613-2595FC1187C2}" type="pres">
      <dgm:prSet presAssocID="{62546CCA-9ED4-4FE2-B7AF-6F9F4BB4E802}" presName="aNode" presStyleLbl="bgShp" presStyleIdx="0" presStyleCnt="3"/>
      <dgm:spPr/>
    </dgm:pt>
    <dgm:pt modelId="{6D88CC0E-F6F0-456E-8006-50F34DED1126}" type="pres">
      <dgm:prSet presAssocID="{62546CCA-9ED4-4FE2-B7AF-6F9F4BB4E802}" presName="textNode" presStyleLbl="bgShp" presStyleIdx="0" presStyleCnt="3"/>
      <dgm:spPr/>
    </dgm:pt>
    <dgm:pt modelId="{6CC34077-7BB9-42F7-A615-5EDD6A513455}" type="pres">
      <dgm:prSet presAssocID="{62546CCA-9ED4-4FE2-B7AF-6F9F4BB4E802}" presName="compChildNode" presStyleCnt="0"/>
      <dgm:spPr/>
    </dgm:pt>
    <dgm:pt modelId="{C26F1A70-072A-4A5C-B9B9-293F0D9C2875}" type="pres">
      <dgm:prSet presAssocID="{62546CCA-9ED4-4FE2-B7AF-6F9F4BB4E802}" presName="theInnerList" presStyleCnt="0"/>
      <dgm:spPr/>
    </dgm:pt>
    <dgm:pt modelId="{F8143FC7-963E-4069-AED4-3AC0E3ABF259}" type="pres">
      <dgm:prSet presAssocID="{4F4E01A5-0E8C-4641-809D-D38FE4327299}" presName="childNode" presStyleLbl="node1" presStyleIdx="0" presStyleCnt="17" custLinFactY="100000" custLinFactNeighborX="0" custLinFactNeighborY="124121">
        <dgm:presLayoutVars>
          <dgm:bulletEnabled val="1"/>
        </dgm:presLayoutVars>
      </dgm:prSet>
      <dgm:spPr/>
    </dgm:pt>
    <dgm:pt modelId="{925B0E6E-4FB5-4E78-B50C-0337B61ECF76}" type="pres">
      <dgm:prSet presAssocID="{4F4E01A5-0E8C-4641-809D-D38FE4327299}" presName="aSpace2" presStyleCnt="0"/>
      <dgm:spPr/>
    </dgm:pt>
    <dgm:pt modelId="{EE585B8D-CCDB-4FA7-B524-9F3C9157B025}" type="pres">
      <dgm:prSet presAssocID="{F88D122F-14FB-46FF-A54D-A4277C7E5779}" presName="childNode" presStyleLbl="node1" presStyleIdx="1" presStyleCnt="17" custLinFactY="-93275" custLinFactNeighborX="-439" custLinFactNeighborY="-100000">
        <dgm:presLayoutVars>
          <dgm:bulletEnabled val="1"/>
        </dgm:presLayoutVars>
      </dgm:prSet>
      <dgm:spPr/>
    </dgm:pt>
    <dgm:pt modelId="{BF667C3D-EB94-4C08-861F-08C0B19D50CF}" type="pres">
      <dgm:prSet presAssocID="{F88D122F-14FB-46FF-A54D-A4277C7E5779}" presName="aSpace2" presStyleCnt="0"/>
      <dgm:spPr/>
    </dgm:pt>
    <dgm:pt modelId="{184BA274-EB9A-4E3C-B8AC-718830178D90}" type="pres">
      <dgm:prSet presAssocID="{46F1B7F9-453B-4E43-8E26-55117CCCE3DC}" presName="childNode" presStyleLbl="node1" presStyleIdx="2" presStyleCnt="17">
        <dgm:presLayoutVars>
          <dgm:bulletEnabled val="1"/>
        </dgm:presLayoutVars>
      </dgm:prSet>
      <dgm:spPr/>
    </dgm:pt>
    <dgm:pt modelId="{8655B0DD-D621-4904-8022-8449121CD538}" type="pres">
      <dgm:prSet presAssocID="{46F1B7F9-453B-4E43-8E26-55117CCCE3DC}" presName="aSpace2" presStyleCnt="0"/>
      <dgm:spPr/>
    </dgm:pt>
    <dgm:pt modelId="{927AD6BE-DFF3-4904-BDC5-D77C09AAC9D1}" type="pres">
      <dgm:prSet presAssocID="{BE8A4983-9D6F-479E-AE9B-367A5229E2E2}" presName="childNode" presStyleLbl="node1" presStyleIdx="3" presStyleCnt="17" custLinFactNeighborX="-438" custLinFactNeighborY="-34322">
        <dgm:presLayoutVars>
          <dgm:bulletEnabled val="1"/>
        </dgm:presLayoutVars>
      </dgm:prSet>
      <dgm:spPr/>
    </dgm:pt>
    <dgm:pt modelId="{60E7DCE5-C0E1-407A-9CCA-008F5A486028}" type="pres">
      <dgm:prSet presAssocID="{BE8A4983-9D6F-479E-AE9B-367A5229E2E2}" presName="aSpace2" presStyleCnt="0"/>
      <dgm:spPr/>
    </dgm:pt>
    <dgm:pt modelId="{5B6AC8B2-CF90-4A6F-A6E8-F0A5FDCE3274}" type="pres">
      <dgm:prSet presAssocID="{22D3FA0E-F8B4-4543-9A10-17245892581A}" presName="childNode" presStyleLbl="node1" presStyleIdx="4" presStyleCnt="17" custLinFactNeighborX="-439" custLinFactNeighborY="-32699">
        <dgm:presLayoutVars>
          <dgm:bulletEnabled val="1"/>
        </dgm:presLayoutVars>
      </dgm:prSet>
      <dgm:spPr/>
    </dgm:pt>
    <dgm:pt modelId="{F7A971E1-37B4-4041-80E9-247AB0D21FAE}" type="pres">
      <dgm:prSet presAssocID="{22D3FA0E-F8B4-4543-9A10-17245892581A}" presName="aSpace2" presStyleCnt="0"/>
      <dgm:spPr/>
    </dgm:pt>
    <dgm:pt modelId="{3C9ECD79-3968-41BA-8CDD-CBB6110CE2EB}" type="pres">
      <dgm:prSet presAssocID="{403C6ED8-5D6D-4063-BC79-F662E85014AC}" presName="childNode" presStyleLbl="node1" presStyleIdx="5" presStyleCnt="17" custLinFactY="195463" custLinFactNeighborX="1" custLinFactNeighborY="200000">
        <dgm:presLayoutVars>
          <dgm:bulletEnabled val="1"/>
        </dgm:presLayoutVars>
      </dgm:prSet>
      <dgm:spPr/>
    </dgm:pt>
    <dgm:pt modelId="{8F505281-1165-4ADD-8724-85148BAC4FF2}" type="pres">
      <dgm:prSet presAssocID="{403C6ED8-5D6D-4063-BC79-F662E85014AC}" presName="aSpace2" presStyleCnt="0"/>
      <dgm:spPr/>
    </dgm:pt>
    <dgm:pt modelId="{AE520F80-CE2C-40BC-95D3-1A6E9AFAE26E}" type="pres">
      <dgm:prSet presAssocID="{3AA64EEF-30A9-48AB-877A-7C1B7F3911C6}" presName="childNode" presStyleLbl="node1" presStyleIdx="6" presStyleCnt="17" custScaleX="100878" custScaleY="102148" custLinFactNeighborX="439" custLinFactNeighborY="-62518">
        <dgm:presLayoutVars>
          <dgm:bulletEnabled val="1"/>
        </dgm:presLayoutVars>
      </dgm:prSet>
      <dgm:spPr/>
    </dgm:pt>
    <dgm:pt modelId="{6FE9AC74-5DC0-4853-AEA9-F6435B6A5BA4}" type="pres">
      <dgm:prSet presAssocID="{3AA64EEF-30A9-48AB-877A-7C1B7F3911C6}" presName="aSpace2" presStyleCnt="0"/>
      <dgm:spPr/>
    </dgm:pt>
    <dgm:pt modelId="{B659B856-9DC7-4440-8C24-D82931F366B3}" type="pres">
      <dgm:prSet presAssocID="{B0CCB24D-F3E9-4941-B050-635A42573845}" presName="childNode" presStyleLbl="node1" presStyleIdx="7" presStyleCnt="17" custLinFactY="-200000" custLinFactNeighborX="-438" custLinFactNeighborY="-248154">
        <dgm:presLayoutVars>
          <dgm:bulletEnabled val="1"/>
        </dgm:presLayoutVars>
      </dgm:prSet>
      <dgm:spPr/>
    </dgm:pt>
    <dgm:pt modelId="{B17A90A6-DFB1-4C00-BBF9-46587A48ECB4}" type="pres">
      <dgm:prSet presAssocID="{62546CCA-9ED4-4FE2-B7AF-6F9F4BB4E802}" presName="aSpace" presStyleCnt="0"/>
      <dgm:spPr/>
    </dgm:pt>
    <dgm:pt modelId="{BC5D9465-82E7-4849-BDC9-60FA2BB5C717}" type="pres">
      <dgm:prSet presAssocID="{9CC87A2E-0CB4-43B4-B841-F7C1213742B5}" presName="compNode" presStyleCnt="0"/>
      <dgm:spPr/>
    </dgm:pt>
    <dgm:pt modelId="{1DB9C52D-C2D7-47BA-A53C-B76D119AA32C}" type="pres">
      <dgm:prSet presAssocID="{9CC87A2E-0CB4-43B4-B841-F7C1213742B5}" presName="aNode" presStyleLbl="bgShp" presStyleIdx="1" presStyleCnt="3"/>
      <dgm:spPr/>
    </dgm:pt>
    <dgm:pt modelId="{0A32E2CA-8F68-4222-B076-50A81519ABDB}" type="pres">
      <dgm:prSet presAssocID="{9CC87A2E-0CB4-43B4-B841-F7C1213742B5}" presName="textNode" presStyleLbl="bgShp" presStyleIdx="1" presStyleCnt="3"/>
      <dgm:spPr/>
    </dgm:pt>
    <dgm:pt modelId="{AA941412-D612-44B6-BCBF-570ED6E97334}" type="pres">
      <dgm:prSet presAssocID="{9CC87A2E-0CB4-43B4-B841-F7C1213742B5}" presName="compChildNode" presStyleCnt="0"/>
      <dgm:spPr/>
    </dgm:pt>
    <dgm:pt modelId="{3E6E6356-785C-4E54-BC4D-1A8700E7B07D}" type="pres">
      <dgm:prSet presAssocID="{9CC87A2E-0CB4-43B4-B841-F7C1213742B5}" presName="theInnerList" presStyleCnt="0"/>
      <dgm:spPr/>
    </dgm:pt>
    <dgm:pt modelId="{A26ACCFA-65E2-4D0B-802B-08A6E055E6C4}" type="pres">
      <dgm:prSet presAssocID="{F5212510-9857-49DE-A5C8-7E90FA791F28}" presName="childNode" presStyleLbl="node1" presStyleIdx="8" presStyleCnt="17">
        <dgm:presLayoutVars>
          <dgm:bulletEnabled val="1"/>
        </dgm:presLayoutVars>
      </dgm:prSet>
      <dgm:spPr/>
    </dgm:pt>
    <dgm:pt modelId="{050EA146-F162-4082-B045-3541DD5B6551}" type="pres">
      <dgm:prSet presAssocID="{F5212510-9857-49DE-A5C8-7E90FA791F28}" presName="aSpace2" presStyleCnt="0"/>
      <dgm:spPr/>
    </dgm:pt>
    <dgm:pt modelId="{64705DA5-0F50-4A86-B3FF-361486AF65FA}" type="pres">
      <dgm:prSet presAssocID="{1C96FAE4-6CE4-41E5-847F-C79DD7FD541F}" presName="childNode" presStyleLbl="node1" presStyleIdx="9" presStyleCnt="17">
        <dgm:presLayoutVars>
          <dgm:bulletEnabled val="1"/>
        </dgm:presLayoutVars>
      </dgm:prSet>
      <dgm:spPr/>
    </dgm:pt>
    <dgm:pt modelId="{540B2BB9-0F3D-45DB-9C3A-89A511DC9EBA}" type="pres">
      <dgm:prSet presAssocID="{1C96FAE4-6CE4-41E5-847F-C79DD7FD541F}" presName="aSpace2" presStyleCnt="0"/>
      <dgm:spPr/>
    </dgm:pt>
    <dgm:pt modelId="{3B4048C2-C93A-4B66-A221-565AB553CD7D}" type="pres">
      <dgm:prSet presAssocID="{05A729DB-5A3F-4148-92AA-ACA2B5101230}" presName="childNode" presStyleLbl="node1" presStyleIdx="10" presStyleCnt="17">
        <dgm:presLayoutVars>
          <dgm:bulletEnabled val="1"/>
        </dgm:presLayoutVars>
      </dgm:prSet>
      <dgm:spPr/>
    </dgm:pt>
    <dgm:pt modelId="{966AA515-8FE4-436C-B08F-D364865422E4}" type="pres">
      <dgm:prSet presAssocID="{9CC87A2E-0CB4-43B4-B841-F7C1213742B5}" presName="aSpace" presStyleCnt="0"/>
      <dgm:spPr/>
    </dgm:pt>
    <dgm:pt modelId="{BABBBF10-D93A-42D0-8162-A6EC16539BE3}" type="pres">
      <dgm:prSet presAssocID="{716996C6-6062-44B7-B611-350236FA86A7}" presName="compNode" presStyleCnt="0"/>
      <dgm:spPr/>
    </dgm:pt>
    <dgm:pt modelId="{0E72B321-9094-4AF0-B136-35BA62201111}" type="pres">
      <dgm:prSet presAssocID="{716996C6-6062-44B7-B611-350236FA86A7}" presName="aNode" presStyleLbl="bgShp" presStyleIdx="2" presStyleCnt="3"/>
      <dgm:spPr/>
    </dgm:pt>
    <dgm:pt modelId="{8C376C52-4E21-4FC5-AC1F-7012A75A7EF5}" type="pres">
      <dgm:prSet presAssocID="{716996C6-6062-44B7-B611-350236FA86A7}" presName="textNode" presStyleLbl="bgShp" presStyleIdx="2" presStyleCnt="3"/>
      <dgm:spPr/>
    </dgm:pt>
    <dgm:pt modelId="{57AB2E20-0A1C-41E4-9AB2-93947B882B19}" type="pres">
      <dgm:prSet presAssocID="{716996C6-6062-44B7-B611-350236FA86A7}" presName="compChildNode" presStyleCnt="0"/>
      <dgm:spPr/>
    </dgm:pt>
    <dgm:pt modelId="{528C3801-85E4-4F58-B610-2BAB2E16B62B}" type="pres">
      <dgm:prSet presAssocID="{716996C6-6062-44B7-B611-350236FA86A7}" presName="theInnerList" presStyleCnt="0"/>
      <dgm:spPr/>
    </dgm:pt>
    <dgm:pt modelId="{795556FB-2F14-481B-A803-AE0E986097D9}" type="pres">
      <dgm:prSet presAssocID="{38417F90-2E4C-4AB5-9B75-FD70AA941018}" presName="childNode" presStyleLbl="node1" presStyleIdx="11" presStyleCnt="17" custLinFactNeighborX="703" custLinFactNeighborY="76049">
        <dgm:presLayoutVars>
          <dgm:bulletEnabled val="1"/>
        </dgm:presLayoutVars>
      </dgm:prSet>
      <dgm:spPr/>
    </dgm:pt>
    <dgm:pt modelId="{54238BD0-3DE0-4AC3-91DC-9F67210CA862}" type="pres">
      <dgm:prSet presAssocID="{38417F90-2E4C-4AB5-9B75-FD70AA941018}" presName="aSpace2" presStyleCnt="0"/>
      <dgm:spPr/>
    </dgm:pt>
    <dgm:pt modelId="{9177B620-C349-4A27-AF6D-356B31AC47E2}" type="pres">
      <dgm:prSet presAssocID="{151E1713-4770-4B98-9098-876381F41282}" presName="childNode" presStyleLbl="node1" presStyleIdx="12" presStyleCnt="17" custLinFactNeighborX="1142" custLinFactNeighborY="80743">
        <dgm:presLayoutVars>
          <dgm:bulletEnabled val="1"/>
        </dgm:presLayoutVars>
      </dgm:prSet>
      <dgm:spPr/>
    </dgm:pt>
    <dgm:pt modelId="{CCA4574B-613D-47B5-8A6A-4C7B6AFF9536}" type="pres">
      <dgm:prSet presAssocID="{151E1713-4770-4B98-9098-876381F41282}" presName="aSpace2" presStyleCnt="0"/>
      <dgm:spPr/>
    </dgm:pt>
    <dgm:pt modelId="{108F942C-74E0-4AF1-B74B-898DBA9396C3}" type="pres">
      <dgm:prSet presAssocID="{68A2BE78-EA18-4D03-81F6-1F7A1235828E}" presName="childNode" presStyleLbl="node1" presStyleIdx="13" presStyleCnt="17" custLinFactY="300000" custLinFactNeighborX="-613" custLinFactNeighborY="344740">
        <dgm:presLayoutVars>
          <dgm:bulletEnabled val="1"/>
        </dgm:presLayoutVars>
      </dgm:prSet>
      <dgm:spPr/>
    </dgm:pt>
    <dgm:pt modelId="{ECA02DB2-133F-4C12-8A5B-9E427A707B63}" type="pres">
      <dgm:prSet presAssocID="{68A2BE78-EA18-4D03-81F6-1F7A1235828E}" presName="aSpace2" presStyleCnt="0"/>
      <dgm:spPr/>
    </dgm:pt>
    <dgm:pt modelId="{9ABD60AD-90B3-4D14-BBBE-F373C00B60B7}" type="pres">
      <dgm:prSet presAssocID="{6EE28B47-5C7C-47C2-A296-036F00B4B5F3}" presName="childNode" presStyleLbl="node1" presStyleIdx="14" presStyleCnt="17" custLinFactY="100000" custLinFactNeighborX="-1052" custLinFactNeighborY="159481">
        <dgm:presLayoutVars>
          <dgm:bulletEnabled val="1"/>
        </dgm:presLayoutVars>
      </dgm:prSet>
      <dgm:spPr/>
    </dgm:pt>
    <dgm:pt modelId="{EDDE0D5A-E2AD-4A6D-AA1E-E3775361384B}" type="pres">
      <dgm:prSet presAssocID="{6EE28B47-5C7C-47C2-A296-036F00B4B5F3}" presName="aSpace2" presStyleCnt="0"/>
      <dgm:spPr/>
    </dgm:pt>
    <dgm:pt modelId="{E48A79C3-F65D-487C-880F-072B460EC120}" type="pres">
      <dgm:prSet presAssocID="{DED7723F-3F3C-4670-A85F-8DD2C32E4159}" presName="childNode" presStyleLbl="node1" presStyleIdx="15" presStyleCnt="17" custLinFactY="-90419" custLinFactNeighborX="-174" custLinFactNeighborY="-100000">
        <dgm:presLayoutVars>
          <dgm:bulletEnabled val="1"/>
        </dgm:presLayoutVars>
      </dgm:prSet>
      <dgm:spPr/>
    </dgm:pt>
    <dgm:pt modelId="{D5DF061B-2B66-44C7-A5DC-9B0A8F03BD54}" type="pres">
      <dgm:prSet presAssocID="{DED7723F-3F3C-4670-A85F-8DD2C32E4159}" presName="aSpace2" presStyleCnt="0"/>
      <dgm:spPr/>
    </dgm:pt>
    <dgm:pt modelId="{232F76A9-44CA-4687-8529-A8594E57A510}" type="pres">
      <dgm:prSet presAssocID="{FA0977D6-76D5-49FD-B3D7-E2BD3984FC5B}" presName="childNode" presStyleLbl="node1" presStyleIdx="16" presStyleCnt="17" custLinFactY="-288151" custLinFactNeighborX="1142" custLinFactNeighborY="-300000">
        <dgm:presLayoutVars>
          <dgm:bulletEnabled val="1"/>
        </dgm:presLayoutVars>
      </dgm:prSet>
      <dgm:spPr/>
    </dgm:pt>
  </dgm:ptLst>
  <dgm:cxnLst>
    <dgm:cxn modelId="{7D603B0F-BF05-481A-91B4-D3E093767AED}" srcId="{716996C6-6062-44B7-B611-350236FA86A7}" destId="{FA0977D6-76D5-49FD-B3D7-E2BD3984FC5B}" srcOrd="5" destOrd="0" parTransId="{8C06E977-44E2-4272-AF0A-AF4AE0B44ABC}" sibTransId="{54C03FB9-5564-4BD1-9C5C-B564CCA50597}"/>
    <dgm:cxn modelId="{85FAA011-5EA0-4C9E-B96E-E816DA7E81F4}" type="presOf" srcId="{22D3FA0E-F8B4-4543-9A10-17245892581A}" destId="{5B6AC8B2-CF90-4A6F-A6E8-F0A5FDCE3274}" srcOrd="0" destOrd="0" presId="urn:microsoft.com/office/officeart/2005/8/layout/lProcess2"/>
    <dgm:cxn modelId="{1733DB15-C8CC-436C-A363-6805E3003B8E}" srcId="{62546CCA-9ED4-4FE2-B7AF-6F9F4BB4E802}" destId="{46F1B7F9-453B-4E43-8E26-55117CCCE3DC}" srcOrd="2" destOrd="0" parTransId="{3F2F67C4-407D-45D6-8C5F-DB6384A35D20}" sibTransId="{F048E4F7-8F3D-42AA-A11B-89B17E8AFC72}"/>
    <dgm:cxn modelId="{BA22921B-A113-4DFA-B9AA-2E44533193A1}" type="presOf" srcId="{716996C6-6062-44B7-B611-350236FA86A7}" destId="{8C376C52-4E21-4FC5-AC1F-7012A75A7EF5}" srcOrd="1" destOrd="0" presId="urn:microsoft.com/office/officeart/2005/8/layout/lProcess2"/>
    <dgm:cxn modelId="{9DC2E41C-B16F-4498-9FD3-368B3C85C467}" type="presOf" srcId="{FA0977D6-76D5-49FD-B3D7-E2BD3984FC5B}" destId="{232F76A9-44CA-4687-8529-A8594E57A510}" srcOrd="0" destOrd="0" presId="urn:microsoft.com/office/officeart/2005/8/layout/lProcess2"/>
    <dgm:cxn modelId="{B5E1881F-CDD9-4D83-8E0B-3BBE25D388B8}" srcId="{62546CCA-9ED4-4FE2-B7AF-6F9F4BB4E802}" destId="{B0CCB24D-F3E9-4941-B050-635A42573845}" srcOrd="7" destOrd="0" parTransId="{1DF2C41D-FAE8-43C9-8C2D-79F55C75F53B}" sibTransId="{9DC3FE64-8F0F-4F00-9732-11C51A390D2D}"/>
    <dgm:cxn modelId="{1EF7B722-D967-41CD-894B-C1540C6446FA}" type="presOf" srcId="{46F1B7F9-453B-4E43-8E26-55117CCCE3DC}" destId="{184BA274-EB9A-4E3C-B8AC-718830178D90}" srcOrd="0" destOrd="0" presId="urn:microsoft.com/office/officeart/2005/8/layout/lProcess2"/>
    <dgm:cxn modelId="{457A0630-F101-45EF-A89F-B76B89988364}" srcId="{62546CCA-9ED4-4FE2-B7AF-6F9F4BB4E802}" destId="{3AA64EEF-30A9-48AB-877A-7C1B7F3911C6}" srcOrd="6" destOrd="0" parTransId="{816F3513-40D6-4C6A-9157-81191E36073D}" sibTransId="{89898161-E98E-4091-BAEA-BADD984FF4C0}"/>
    <dgm:cxn modelId="{63995232-167E-4267-92F6-A9FB024EA226}" srcId="{7054ECCA-6364-4700-AF4D-7B429DE1FEB1}" destId="{716996C6-6062-44B7-B611-350236FA86A7}" srcOrd="2" destOrd="0" parTransId="{2424D542-123A-4063-8DD0-21614F1EB002}" sibTransId="{8DD7C4C7-7B73-4416-9215-6522D2E25987}"/>
    <dgm:cxn modelId="{8AC58635-9635-4B28-9B9B-36F5ABF725DE}" type="presOf" srcId="{38417F90-2E4C-4AB5-9B75-FD70AA941018}" destId="{795556FB-2F14-481B-A803-AE0E986097D9}" srcOrd="0" destOrd="0" presId="urn:microsoft.com/office/officeart/2005/8/layout/lProcess2"/>
    <dgm:cxn modelId="{F2A58036-ACBF-472A-9C81-1AB58B527EE5}" srcId="{7054ECCA-6364-4700-AF4D-7B429DE1FEB1}" destId="{62546CCA-9ED4-4FE2-B7AF-6F9F4BB4E802}" srcOrd="0" destOrd="0" parTransId="{63561D1E-AF54-4483-8851-3D3BEA1D2835}" sibTransId="{CBBE2B87-198F-4895-878D-B1F7BD0A5B4F}"/>
    <dgm:cxn modelId="{8EC7CC61-28FC-4A78-A608-7835A2601F28}" type="presOf" srcId="{7054ECCA-6364-4700-AF4D-7B429DE1FEB1}" destId="{E8F96356-88A4-4762-90BC-EB64C2784057}" srcOrd="0" destOrd="0" presId="urn:microsoft.com/office/officeart/2005/8/layout/lProcess2"/>
    <dgm:cxn modelId="{BECD314C-8D8B-4F21-A25A-D558AD4E762C}" type="presOf" srcId="{68A2BE78-EA18-4D03-81F6-1F7A1235828E}" destId="{108F942C-74E0-4AF1-B74B-898DBA9396C3}" srcOrd="0" destOrd="0" presId="urn:microsoft.com/office/officeart/2005/8/layout/lProcess2"/>
    <dgm:cxn modelId="{0C32AA74-2482-40FD-B088-F8CADF81DE93}" type="presOf" srcId="{B0CCB24D-F3E9-4941-B050-635A42573845}" destId="{B659B856-9DC7-4440-8C24-D82931F366B3}" srcOrd="0" destOrd="0" presId="urn:microsoft.com/office/officeart/2005/8/layout/lProcess2"/>
    <dgm:cxn modelId="{99814075-91DB-4535-98A5-C100598B2440}" type="presOf" srcId="{DED7723F-3F3C-4670-A85F-8DD2C32E4159}" destId="{E48A79C3-F65D-487C-880F-072B460EC120}" srcOrd="0" destOrd="0" presId="urn:microsoft.com/office/officeart/2005/8/layout/lProcess2"/>
    <dgm:cxn modelId="{45B31A78-0966-405F-9B50-0E3A9FAEA912}" type="presOf" srcId="{9CC87A2E-0CB4-43B4-B841-F7C1213742B5}" destId="{1DB9C52D-C2D7-47BA-A53C-B76D119AA32C}" srcOrd="0" destOrd="0" presId="urn:microsoft.com/office/officeart/2005/8/layout/lProcess2"/>
    <dgm:cxn modelId="{2C754658-D373-4EA8-BCC6-F33CB468991E}" type="presOf" srcId="{9CC87A2E-0CB4-43B4-B841-F7C1213742B5}" destId="{0A32E2CA-8F68-4222-B076-50A81519ABDB}" srcOrd="1" destOrd="0" presId="urn:microsoft.com/office/officeart/2005/8/layout/lProcess2"/>
    <dgm:cxn modelId="{91B8855A-5135-4922-AFDE-5A9ED6D45BC6}" type="presOf" srcId="{716996C6-6062-44B7-B611-350236FA86A7}" destId="{0E72B321-9094-4AF0-B136-35BA62201111}" srcOrd="0" destOrd="0" presId="urn:microsoft.com/office/officeart/2005/8/layout/lProcess2"/>
    <dgm:cxn modelId="{4B155B7D-4C75-4BEB-B3EF-5481D8644560}" type="presOf" srcId="{05A729DB-5A3F-4148-92AA-ACA2B5101230}" destId="{3B4048C2-C93A-4B66-A221-565AB553CD7D}" srcOrd="0" destOrd="0" presId="urn:microsoft.com/office/officeart/2005/8/layout/lProcess2"/>
    <dgm:cxn modelId="{C189F983-889D-4ADB-9F0B-DE1541C4EA06}" srcId="{62546CCA-9ED4-4FE2-B7AF-6F9F4BB4E802}" destId="{F88D122F-14FB-46FF-A54D-A4277C7E5779}" srcOrd="1" destOrd="0" parTransId="{0600627F-E4C0-4B71-A314-78369D63741E}" sibTransId="{B5121F06-FD04-44EB-AB26-3FFE7EF6F09C}"/>
    <dgm:cxn modelId="{2AD44385-716A-407C-8172-D5EF3CF1B363}" type="presOf" srcId="{403C6ED8-5D6D-4063-BC79-F662E85014AC}" destId="{3C9ECD79-3968-41BA-8CDD-CBB6110CE2EB}" srcOrd="0" destOrd="0" presId="urn:microsoft.com/office/officeart/2005/8/layout/lProcess2"/>
    <dgm:cxn modelId="{C5E13598-EF2B-4BA2-AC0A-6AC098F59019}" type="presOf" srcId="{4F4E01A5-0E8C-4641-809D-D38FE4327299}" destId="{F8143FC7-963E-4069-AED4-3AC0E3ABF259}" srcOrd="0" destOrd="0" presId="urn:microsoft.com/office/officeart/2005/8/layout/lProcess2"/>
    <dgm:cxn modelId="{2EEB4799-246A-4139-8544-E9B09B73EA17}" srcId="{716996C6-6062-44B7-B611-350236FA86A7}" destId="{6EE28B47-5C7C-47C2-A296-036F00B4B5F3}" srcOrd="3" destOrd="0" parTransId="{5EDEAA32-3307-4B26-B141-4FF15B9256DC}" sibTransId="{71401E2E-C0E1-4D67-A797-763C38B7B72B}"/>
    <dgm:cxn modelId="{29D45FA1-074C-4C7D-89AC-80D3CB616A48}" srcId="{62546CCA-9ED4-4FE2-B7AF-6F9F4BB4E802}" destId="{403C6ED8-5D6D-4063-BC79-F662E85014AC}" srcOrd="5" destOrd="0" parTransId="{52F2C38C-3DC8-4E1B-9C2A-31DD1ECCEC5D}" sibTransId="{76257113-90A6-4421-972E-09FD30DE3AE2}"/>
    <dgm:cxn modelId="{9CD0DBA3-A785-4C9D-A730-C2545B61B2D8}" type="presOf" srcId="{6EE28B47-5C7C-47C2-A296-036F00B4B5F3}" destId="{9ABD60AD-90B3-4D14-BBBE-F373C00B60B7}" srcOrd="0" destOrd="0" presId="urn:microsoft.com/office/officeart/2005/8/layout/lProcess2"/>
    <dgm:cxn modelId="{BFFE2BA8-E874-40AC-B479-23E98D329122}" type="presOf" srcId="{62546CCA-9ED4-4FE2-B7AF-6F9F4BB4E802}" destId="{9D11A7F4-FBDC-4D1E-9613-2595FC1187C2}" srcOrd="0" destOrd="0" presId="urn:microsoft.com/office/officeart/2005/8/layout/lProcess2"/>
    <dgm:cxn modelId="{56C10BAD-3112-4A77-B43E-E221EFE9C571}" type="presOf" srcId="{F5212510-9857-49DE-A5C8-7E90FA791F28}" destId="{A26ACCFA-65E2-4D0B-802B-08A6E055E6C4}" srcOrd="0" destOrd="0" presId="urn:microsoft.com/office/officeart/2005/8/layout/lProcess2"/>
    <dgm:cxn modelId="{21B691B8-3805-4A7C-B7B1-DB2B52D8159A}" srcId="{716996C6-6062-44B7-B611-350236FA86A7}" destId="{DED7723F-3F3C-4670-A85F-8DD2C32E4159}" srcOrd="4" destOrd="0" parTransId="{72063C72-20FE-4EA4-BECD-263387D40A31}" sibTransId="{BB7FED55-ED1D-41DC-8119-239AB8D91BB3}"/>
    <dgm:cxn modelId="{EDFAE2C6-69C4-43E5-86DA-0A9539B14135}" srcId="{716996C6-6062-44B7-B611-350236FA86A7}" destId="{151E1713-4770-4B98-9098-876381F41282}" srcOrd="1" destOrd="0" parTransId="{E690E4B7-718B-4ED3-B596-D7FFAD2C06DD}" sibTransId="{CE4F296B-2359-41AA-8F4A-765E77AC70C0}"/>
    <dgm:cxn modelId="{27C52AC8-FB2F-4DE7-9949-DDF8AB42CA2C}" type="presOf" srcId="{F88D122F-14FB-46FF-A54D-A4277C7E5779}" destId="{EE585B8D-CCDB-4FA7-B524-9F3C9157B025}" srcOrd="0" destOrd="0" presId="urn:microsoft.com/office/officeart/2005/8/layout/lProcess2"/>
    <dgm:cxn modelId="{E274D2C9-7CE4-4B3D-8877-4C1D7BF0F7A4}" srcId="{716996C6-6062-44B7-B611-350236FA86A7}" destId="{38417F90-2E4C-4AB5-9B75-FD70AA941018}" srcOrd="0" destOrd="0" parTransId="{1A076557-64EA-4F4F-9B78-591EB8016D10}" sibTransId="{82FFA3C9-E9FB-4404-B1F6-864246B960AC}"/>
    <dgm:cxn modelId="{A7D41ACE-99CD-407C-B720-68279B4AA669}" srcId="{716996C6-6062-44B7-B611-350236FA86A7}" destId="{68A2BE78-EA18-4D03-81F6-1F7A1235828E}" srcOrd="2" destOrd="0" parTransId="{EEC23D00-6698-42D8-A78F-099DF16243BF}" sibTransId="{F6E46E13-419D-4F84-A812-4EB35522191D}"/>
    <dgm:cxn modelId="{05EA94D1-E599-4EAB-8B09-8AF1B2FD1EC4}" srcId="{62546CCA-9ED4-4FE2-B7AF-6F9F4BB4E802}" destId="{22D3FA0E-F8B4-4543-9A10-17245892581A}" srcOrd="4" destOrd="0" parTransId="{503E30C7-4DD8-4540-8645-9552747291AA}" sibTransId="{F43C94A4-03F8-4F59-9153-7BA2558E724B}"/>
    <dgm:cxn modelId="{FB425ED7-8E72-4F8D-ADAE-3C70E0098261}" srcId="{9CC87A2E-0CB4-43B4-B841-F7C1213742B5}" destId="{1C96FAE4-6CE4-41E5-847F-C79DD7FD541F}" srcOrd="1" destOrd="0" parTransId="{4CAEF194-DFF7-4006-A46E-C130E793B71C}" sibTransId="{E967A8F6-F13B-4839-8AB2-298EF78B189F}"/>
    <dgm:cxn modelId="{A3839EDE-AD8F-4A58-9DD2-4A3A1EDC72F7}" srcId="{62546CCA-9ED4-4FE2-B7AF-6F9F4BB4E802}" destId="{4F4E01A5-0E8C-4641-809D-D38FE4327299}" srcOrd="0" destOrd="0" parTransId="{1F757B85-1061-4581-AA31-D1CC1386ED8B}" sibTransId="{3044FC79-4796-4FB7-8A8A-CA0E15C134EE}"/>
    <dgm:cxn modelId="{5376B2DE-A106-4466-AB67-60F9F0973C92}" srcId="{7054ECCA-6364-4700-AF4D-7B429DE1FEB1}" destId="{9CC87A2E-0CB4-43B4-B841-F7C1213742B5}" srcOrd="1" destOrd="0" parTransId="{EB4790B1-375A-4BFB-9949-006520B3E8AB}" sibTransId="{D9F437AC-D594-4A5D-B607-D6888B8E19B6}"/>
    <dgm:cxn modelId="{00006AE0-234B-4A0C-80BA-CC31A378DBA9}" srcId="{9CC87A2E-0CB4-43B4-B841-F7C1213742B5}" destId="{05A729DB-5A3F-4148-92AA-ACA2B5101230}" srcOrd="2" destOrd="0" parTransId="{98EA6903-8ADF-4C16-B9E7-A9A3B208E7AD}" sibTransId="{69CA5572-0005-4A71-BBDB-7D5270225D2E}"/>
    <dgm:cxn modelId="{F9B806E2-5F58-43B7-8615-7E4075693D98}" type="presOf" srcId="{151E1713-4770-4B98-9098-876381F41282}" destId="{9177B620-C349-4A27-AF6D-356B31AC47E2}" srcOrd="0" destOrd="0" presId="urn:microsoft.com/office/officeart/2005/8/layout/lProcess2"/>
    <dgm:cxn modelId="{118011E8-46FA-4326-8CF2-DB8E51C4E129}" type="presOf" srcId="{62546CCA-9ED4-4FE2-B7AF-6F9F4BB4E802}" destId="{6D88CC0E-F6F0-456E-8006-50F34DED1126}" srcOrd="1" destOrd="0" presId="urn:microsoft.com/office/officeart/2005/8/layout/lProcess2"/>
    <dgm:cxn modelId="{84FE7CEA-429F-4FB2-A5F2-7FDAB457EC36}" srcId="{62546CCA-9ED4-4FE2-B7AF-6F9F4BB4E802}" destId="{BE8A4983-9D6F-479E-AE9B-367A5229E2E2}" srcOrd="3" destOrd="0" parTransId="{DBAC1BD5-B2B7-4BC2-AB32-1692A2A6700A}" sibTransId="{1FBA6C22-FF4A-4EC5-87CC-6431FA195861}"/>
    <dgm:cxn modelId="{6497D8EB-B34D-4DB9-A7E3-15040D96C1C2}" type="presOf" srcId="{1C96FAE4-6CE4-41E5-847F-C79DD7FD541F}" destId="{64705DA5-0F50-4A86-B3FF-361486AF65FA}" srcOrd="0" destOrd="0" presId="urn:microsoft.com/office/officeart/2005/8/layout/lProcess2"/>
    <dgm:cxn modelId="{052941F0-A23C-45B6-BA36-53B340B5EA90}" type="presOf" srcId="{BE8A4983-9D6F-479E-AE9B-367A5229E2E2}" destId="{927AD6BE-DFF3-4904-BDC5-D77C09AAC9D1}" srcOrd="0" destOrd="0" presId="urn:microsoft.com/office/officeart/2005/8/layout/lProcess2"/>
    <dgm:cxn modelId="{16EFA0F6-BEC3-4355-892F-23A44DAE5DB2}" srcId="{9CC87A2E-0CB4-43B4-B841-F7C1213742B5}" destId="{F5212510-9857-49DE-A5C8-7E90FA791F28}" srcOrd="0" destOrd="0" parTransId="{1D1DB595-B976-4990-8D92-AA8C11183C96}" sibTransId="{886C2074-C0B8-40D5-AB8F-A7A6EAAD46D4}"/>
    <dgm:cxn modelId="{96988FFA-DD64-4D07-8EDE-5AAD52A2A26D}" type="presOf" srcId="{3AA64EEF-30A9-48AB-877A-7C1B7F3911C6}" destId="{AE520F80-CE2C-40BC-95D3-1A6E9AFAE26E}" srcOrd="0" destOrd="0" presId="urn:microsoft.com/office/officeart/2005/8/layout/lProcess2"/>
    <dgm:cxn modelId="{E817E2B6-A679-4872-BC4C-1DC2F26D7AEE}" type="presParOf" srcId="{E8F96356-88A4-4762-90BC-EB64C2784057}" destId="{0F3EBB29-779B-455D-AB30-0E28B2FD89DE}" srcOrd="0" destOrd="0" presId="urn:microsoft.com/office/officeart/2005/8/layout/lProcess2"/>
    <dgm:cxn modelId="{420AB215-C5C9-4C7F-B044-148AB695DDC9}" type="presParOf" srcId="{0F3EBB29-779B-455D-AB30-0E28B2FD89DE}" destId="{9D11A7F4-FBDC-4D1E-9613-2595FC1187C2}" srcOrd="0" destOrd="0" presId="urn:microsoft.com/office/officeart/2005/8/layout/lProcess2"/>
    <dgm:cxn modelId="{7731084F-54DC-4F77-8A5F-DC431927EE89}" type="presParOf" srcId="{0F3EBB29-779B-455D-AB30-0E28B2FD89DE}" destId="{6D88CC0E-F6F0-456E-8006-50F34DED1126}" srcOrd="1" destOrd="0" presId="urn:microsoft.com/office/officeart/2005/8/layout/lProcess2"/>
    <dgm:cxn modelId="{39279AF9-B4C0-483D-A2C3-E1844AEF654F}" type="presParOf" srcId="{0F3EBB29-779B-455D-AB30-0E28B2FD89DE}" destId="{6CC34077-7BB9-42F7-A615-5EDD6A513455}" srcOrd="2" destOrd="0" presId="urn:microsoft.com/office/officeart/2005/8/layout/lProcess2"/>
    <dgm:cxn modelId="{7B9C818D-7FDA-44DB-B86E-3914D68A8D31}" type="presParOf" srcId="{6CC34077-7BB9-42F7-A615-5EDD6A513455}" destId="{C26F1A70-072A-4A5C-B9B9-293F0D9C2875}" srcOrd="0" destOrd="0" presId="urn:microsoft.com/office/officeart/2005/8/layout/lProcess2"/>
    <dgm:cxn modelId="{9FC5249F-A1EB-4A56-B768-164D6779986A}" type="presParOf" srcId="{C26F1A70-072A-4A5C-B9B9-293F0D9C2875}" destId="{F8143FC7-963E-4069-AED4-3AC0E3ABF259}" srcOrd="0" destOrd="0" presId="urn:microsoft.com/office/officeart/2005/8/layout/lProcess2"/>
    <dgm:cxn modelId="{E1209BFC-15AA-4041-89EA-67010A88BA9B}" type="presParOf" srcId="{C26F1A70-072A-4A5C-B9B9-293F0D9C2875}" destId="{925B0E6E-4FB5-4E78-B50C-0337B61ECF76}" srcOrd="1" destOrd="0" presId="urn:microsoft.com/office/officeart/2005/8/layout/lProcess2"/>
    <dgm:cxn modelId="{680CCD5A-A2EB-4760-9B8D-DE6F88DBF209}" type="presParOf" srcId="{C26F1A70-072A-4A5C-B9B9-293F0D9C2875}" destId="{EE585B8D-CCDB-4FA7-B524-9F3C9157B025}" srcOrd="2" destOrd="0" presId="urn:microsoft.com/office/officeart/2005/8/layout/lProcess2"/>
    <dgm:cxn modelId="{B6CE80FE-645C-45AE-88BA-84425582C028}" type="presParOf" srcId="{C26F1A70-072A-4A5C-B9B9-293F0D9C2875}" destId="{BF667C3D-EB94-4C08-861F-08C0B19D50CF}" srcOrd="3" destOrd="0" presId="urn:microsoft.com/office/officeart/2005/8/layout/lProcess2"/>
    <dgm:cxn modelId="{6B38FC4A-A6C6-4882-8037-0FC8FACB604C}" type="presParOf" srcId="{C26F1A70-072A-4A5C-B9B9-293F0D9C2875}" destId="{184BA274-EB9A-4E3C-B8AC-718830178D90}" srcOrd="4" destOrd="0" presId="urn:microsoft.com/office/officeart/2005/8/layout/lProcess2"/>
    <dgm:cxn modelId="{22F9F9A6-EA3C-47A6-9931-FECF17F2488E}" type="presParOf" srcId="{C26F1A70-072A-4A5C-B9B9-293F0D9C2875}" destId="{8655B0DD-D621-4904-8022-8449121CD538}" srcOrd="5" destOrd="0" presId="urn:microsoft.com/office/officeart/2005/8/layout/lProcess2"/>
    <dgm:cxn modelId="{50551173-7C2D-404E-96E6-8C0962DF2F9D}" type="presParOf" srcId="{C26F1A70-072A-4A5C-B9B9-293F0D9C2875}" destId="{927AD6BE-DFF3-4904-BDC5-D77C09AAC9D1}" srcOrd="6" destOrd="0" presId="urn:microsoft.com/office/officeart/2005/8/layout/lProcess2"/>
    <dgm:cxn modelId="{9EDB0D39-7FAC-4A78-BE9D-22FB1D7E4E64}" type="presParOf" srcId="{C26F1A70-072A-4A5C-B9B9-293F0D9C2875}" destId="{60E7DCE5-C0E1-407A-9CCA-008F5A486028}" srcOrd="7" destOrd="0" presId="urn:microsoft.com/office/officeart/2005/8/layout/lProcess2"/>
    <dgm:cxn modelId="{A777D05D-ABF5-428D-BE07-FB3F56E65CC2}" type="presParOf" srcId="{C26F1A70-072A-4A5C-B9B9-293F0D9C2875}" destId="{5B6AC8B2-CF90-4A6F-A6E8-F0A5FDCE3274}" srcOrd="8" destOrd="0" presId="urn:microsoft.com/office/officeart/2005/8/layout/lProcess2"/>
    <dgm:cxn modelId="{3BD1CAAD-95D1-4E3E-A64F-B4FC1497E401}" type="presParOf" srcId="{C26F1A70-072A-4A5C-B9B9-293F0D9C2875}" destId="{F7A971E1-37B4-4041-80E9-247AB0D21FAE}" srcOrd="9" destOrd="0" presId="urn:microsoft.com/office/officeart/2005/8/layout/lProcess2"/>
    <dgm:cxn modelId="{FA0D527C-C595-41EC-B0A0-4B222F5EAEE0}" type="presParOf" srcId="{C26F1A70-072A-4A5C-B9B9-293F0D9C2875}" destId="{3C9ECD79-3968-41BA-8CDD-CBB6110CE2EB}" srcOrd="10" destOrd="0" presId="urn:microsoft.com/office/officeart/2005/8/layout/lProcess2"/>
    <dgm:cxn modelId="{3293232D-AA55-4137-8E6C-C182CD5067F7}" type="presParOf" srcId="{C26F1A70-072A-4A5C-B9B9-293F0D9C2875}" destId="{8F505281-1165-4ADD-8724-85148BAC4FF2}" srcOrd="11" destOrd="0" presId="urn:microsoft.com/office/officeart/2005/8/layout/lProcess2"/>
    <dgm:cxn modelId="{1BC2DC0D-C95C-4AA1-B02C-9F5EEDFEBA78}" type="presParOf" srcId="{C26F1A70-072A-4A5C-B9B9-293F0D9C2875}" destId="{AE520F80-CE2C-40BC-95D3-1A6E9AFAE26E}" srcOrd="12" destOrd="0" presId="urn:microsoft.com/office/officeart/2005/8/layout/lProcess2"/>
    <dgm:cxn modelId="{B491E953-4225-4269-A8DB-B20D5E72BA56}" type="presParOf" srcId="{C26F1A70-072A-4A5C-B9B9-293F0D9C2875}" destId="{6FE9AC74-5DC0-4853-AEA9-F6435B6A5BA4}" srcOrd="13" destOrd="0" presId="urn:microsoft.com/office/officeart/2005/8/layout/lProcess2"/>
    <dgm:cxn modelId="{ECF643F7-72E5-47CE-B932-A0A1C15D74B0}" type="presParOf" srcId="{C26F1A70-072A-4A5C-B9B9-293F0D9C2875}" destId="{B659B856-9DC7-4440-8C24-D82931F366B3}" srcOrd="14" destOrd="0" presId="urn:microsoft.com/office/officeart/2005/8/layout/lProcess2"/>
    <dgm:cxn modelId="{64B6B317-278D-4487-8E18-045475998FEE}" type="presParOf" srcId="{E8F96356-88A4-4762-90BC-EB64C2784057}" destId="{B17A90A6-DFB1-4C00-BBF9-46587A48ECB4}" srcOrd="1" destOrd="0" presId="urn:microsoft.com/office/officeart/2005/8/layout/lProcess2"/>
    <dgm:cxn modelId="{8021990B-7ABD-4B4B-9767-BBF072489BC8}" type="presParOf" srcId="{E8F96356-88A4-4762-90BC-EB64C2784057}" destId="{BC5D9465-82E7-4849-BDC9-60FA2BB5C717}" srcOrd="2" destOrd="0" presId="urn:microsoft.com/office/officeart/2005/8/layout/lProcess2"/>
    <dgm:cxn modelId="{CEC6EE0C-60AC-407E-92A2-C591FF5637F5}" type="presParOf" srcId="{BC5D9465-82E7-4849-BDC9-60FA2BB5C717}" destId="{1DB9C52D-C2D7-47BA-A53C-B76D119AA32C}" srcOrd="0" destOrd="0" presId="urn:microsoft.com/office/officeart/2005/8/layout/lProcess2"/>
    <dgm:cxn modelId="{25BCF060-5FE2-4B4A-9DD6-27829F61721D}" type="presParOf" srcId="{BC5D9465-82E7-4849-BDC9-60FA2BB5C717}" destId="{0A32E2CA-8F68-4222-B076-50A81519ABDB}" srcOrd="1" destOrd="0" presId="urn:microsoft.com/office/officeart/2005/8/layout/lProcess2"/>
    <dgm:cxn modelId="{7ABB6C37-F16C-4797-A529-19408C46AED6}" type="presParOf" srcId="{BC5D9465-82E7-4849-BDC9-60FA2BB5C717}" destId="{AA941412-D612-44B6-BCBF-570ED6E97334}" srcOrd="2" destOrd="0" presId="urn:microsoft.com/office/officeart/2005/8/layout/lProcess2"/>
    <dgm:cxn modelId="{D702D558-17FE-4EDC-9D4C-C3A071D8573F}" type="presParOf" srcId="{AA941412-D612-44B6-BCBF-570ED6E97334}" destId="{3E6E6356-785C-4E54-BC4D-1A8700E7B07D}" srcOrd="0" destOrd="0" presId="urn:microsoft.com/office/officeart/2005/8/layout/lProcess2"/>
    <dgm:cxn modelId="{B065736E-95B9-414C-B2C8-771059FBA59C}" type="presParOf" srcId="{3E6E6356-785C-4E54-BC4D-1A8700E7B07D}" destId="{A26ACCFA-65E2-4D0B-802B-08A6E055E6C4}" srcOrd="0" destOrd="0" presId="urn:microsoft.com/office/officeart/2005/8/layout/lProcess2"/>
    <dgm:cxn modelId="{3C8F1252-251A-4498-A787-08B3CF000CE9}" type="presParOf" srcId="{3E6E6356-785C-4E54-BC4D-1A8700E7B07D}" destId="{050EA146-F162-4082-B045-3541DD5B6551}" srcOrd="1" destOrd="0" presId="urn:microsoft.com/office/officeart/2005/8/layout/lProcess2"/>
    <dgm:cxn modelId="{2574F687-DF00-4B55-B276-A923F25A68FD}" type="presParOf" srcId="{3E6E6356-785C-4E54-BC4D-1A8700E7B07D}" destId="{64705DA5-0F50-4A86-B3FF-361486AF65FA}" srcOrd="2" destOrd="0" presId="urn:microsoft.com/office/officeart/2005/8/layout/lProcess2"/>
    <dgm:cxn modelId="{88A5002A-06A5-4091-9877-B217A49952B8}" type="presParOf" srcId="{3E6E6356-785C-4E54-BC4D-1A8700E7B07D}" destId="{540B2BB9-0F3D-45DB-9C3A-89A511DC9EBA}" srcOrd="3" destOrd="0" presId="urn:microsoft.com/office/officeart/2005/8/layout/lProcess2"/>
    <dgm:cxn modelId="{51B37D34-1CAE-43E1-9C02-A5C6B75779CB}" type="presParOf" srcId="{3E6E6356-785C-4E54-BC4D-1A8700E7B07D}" destId="{3B4048C2-C93A-4B66-A221-565AB553CD7D}" srcOrd="4" destOrd="0" presId="urn:microsoft.com/office/officeart/2005/8/layout/lProcess2"/>
    <dgm:cxn modelId="{49887886-B335-4CCC-A796-6CD3D74516AC}" type="presParOf" srcId="{E8F96356-88A4-4762-90BC-EB64C2784057}" destId="{966AA515-8FE4-436C-B08F-D364865422E4}" srcOrd="3" destOrd="0" presId="urn:microsoft.com/office/officeart/2005/8/layout/lProcess2"/>
    <dgm:cxn modelId="{48F8551B-1D97-40C6-B25A-A8E434A6B0A3}" type="presParOf" srcId="{E8F96356-88A4-4762-90BC-EB64C2784057}" destId="{BABBBF10-D93A-42D0-8162-A6EC16539BE3}" srcOrd="4" destOrd="0" presId="urn:microsoft.com/office/officeart/2005/8/layout/lProcess2"/>
    <dgm:cxn modelId="{A3496491-3B92-4ECA-BA93-74E44B7114DA}" type="presParOf" srcId="{BABBBF10-D93A-42D0-8162-A6EC16539BE3}" destId="{0E72B321-9094-4AF0-B136-35BA62201111}" srcOrd="0" destOrd="0" presId="urn:microsoft.com/office/officeart/2005/8/layout/lProcess2"/>
    <dgm:cxn modelId="{B8C334CF-1C14-4B70-B748-CA147FA3AA9A}" type="presParOf" srcId="{BABBBF10-D93A-42D0-8162-A6EC16539BE3}" destId="{8C376C52-4E21-4FC5-AC1F-7012A75A7EF5}" srcOrd="1" destOrd="0" presId="urn:microsoft.com/office/officeart/2005/8/layout/lProcess2"/>
    <dgm:cxn modelId="{4FDD26EA-1586-4803-AC30-4D96635FC63C}" type="presParOf" srcId="{BABBBF10-D93A-42D0-8162-A6EC16539BE3}" destId="{57AB2E20-0A1C-41E4-9AB2-93947B882B19}" srcOrd="2" destOrd="0" presId="urn:microsoft.com/office/officeart/2005/8/layout/lProcess2"/>
    <dgm:cxn modelId="{32D70363-4E58-4537-A931-1282F8A40DF8}" type="presParOf" srcId="{57AB2E20-0A1C-41E4-9AB2-93947B882B19}" destId="{528C3801-85E4-4F58-B610-2BAB2E16B62B}" srcOrd="0" destOrd="0" presId="urn:microsoft.com/office/officeart/2005/8/layout/lProcess2"/>
    <dgm:cxn modelId="{41E92CF2-983F-406E-96AB-5BFC29F013AC}" type="presParOf" srcId="{528C3801-85E4-4F58-B610-2BAB2E16B62B}" destId="{795556FB-2F14-481B-A803-AE0E986097D9}" srcOrd="0" destOrd="0" presId="urn:microsoft.com/office/officeart/2005/8/layout/lProcess2"/>
    <dgm:cxn modelId="{58F6A0A8-217B-4C83-8A3C-7AD3EEBAC2D0}" type="presParOf" srcId="{528C3801-85E4-4F58-B610-2BAB2E16B62B}" destId="{54238BD0-3DE0-4AC3-91DC-9F67210CA862}" srcOrd="1" destOrd="0" presId="urn:microsoft.com/office/officeart/2005/8/layout/lProcess2"/>
    <dgm:cxn modelId="{D2E89F06-D6EC-48E9-80D7-6E70A340F75B}" type="presParOf" srcId="{528C3801-85E4-4F58-B610-2BAB2E16B62B}" destId="{9177B620-C349-4A27-AF6D-356B31AC47E2}" srcOrd="2" destOrd="0" presId="urn:microsoft.com/office/officeart/2005/8/layout/lProcess2"/>
    <dgm:cxn modelId="{860F41E5-D695-45C7-BAEC-312D2C9929A7}" type="presParOf" srcId="{528C3801-85E4-4F58-B610-2BAB2E16B62B}" destId="{CCA4574B-613D-47B5-8A6A-4C7B6AFF9536}" srcOrd="3" destOrd="0" presId="urn:microsoft.com/office/officeart/2005/8/layout/lProcess2"/>
    <dgm:cxn modelId="{B190CB85-BCA2-4335-A88A-FEB72B68D49B}" type="presParOf" srcId="{528C3801-85E4-4F58-B610-2BAB2E16B62B}" destId="{108F942C-74E0-4AF1-B74B-898DBA9396C3}" srcOrd="4" destOrd="0" presId="urn:microsoft.com/office/officeart/2005/8/layout/lProcess2"/>
    <dgm:cxn modelId="{2CE5C153-5B75-40B8-BA20-8DFA12C51CE8}" type="presParOf" srcId="{528C3801-85E4-4F58-B610-2BAB2E16B62B}" destId="{ECA02DB2-133F-4C12-8A5B-9E427A707B63}" srcOrd="5" destOrd="0" presId="urn:microsoft.com/office/officeart/2005/8/layout/lProcess2"/>
    <dgm:cxn modelId="{FA55D371-0CA5-49FC-B127-A0F053076015}" type="presParOf" srcId="{528C3801-85E4-4F58-B610-2BAB2E16B62B}" destId="{9ABD60AD-90B3-4D14-BBBE-F373C00B60B7}" srcOrd="6" destOrd="0" presId="urn:microsoft.com/office/officeart/2005/8/layout/lProcess2"/>
    <dgm:cxn modelId="{1E3CFAE5-2B78-44FE-8453-C12122F082F2}" type="presParOf" srcId="{528C3801-85E4-4F58-B610-2BAB2E16B62B}" destId="{EDDE0D5A-E2AD-4A6D-AA1E-E3775361384B}" srcOrd="7" destOrd="0" presId="urn:microsoft.com/office/officeart/2005/8/layout/lProcess2"/>
    <dgm:cxn modelId="{A9EA259E-D64A-45B4-9855-6D7ACB603039}" type="presParOf" srcId="{528C3801-85E4-4F58-B610-2BAB2E16B62B}" destId="{E48A79C3-F65D-487C-880F-072B460EC120}" srcOrd="8" destOrd="0" presId="urn:microsoft.com/office/officeart/2005/8/layout/lProcess2"/>
    <dgm:cxn modelId="{FA20AB3F-3C14-478A-A241-7A0E6B2EFCDB}" type="presParOf" srcId="{528C3801-85E4-4F58-B610-2BAB2E16B62B}" destId="{D5DF061B-2B66-44C7-A5DC-9B0A8F03BD54}" srcOrd="9" destOrd="0" presId="urn:microsoft.com/office/officeart/2005/8/layout/lProcess2"/>
    <dgm:cxn modelId="{E1147128-B82E-473F-954C-D5F3B2320FCD}" type="presParOf" srcId="{528C3801-85E4-4F58-B610-2BAB2E16B62B}" destId="{232F76A9-44CA-4687-8529-A8594E57A510}" srcOrd="10" destOrd="0" presId="urn:microsoft.com/office/officeart/2005/8/layout/lProcess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188F3EBE-2B25-4A9B-88A3-B6A97F568A62}" type="doc">
      <dgm:prSet loTypeId="urn:microsoft.com/office/officeart/2005/8/layout/default" loCatId="list" qsTypeId="urn:microsoft.com/office/officeart/2005/8/quickstyle/simple1" qsCatId="simple" csTypeId="urn:microsoft.com/office/officeart/2005/8/colors/accent1_2" csCatId="accent1" phldr="1"/>
      <dgm:spPr/>
      <dgm:t>
        <a:bodyPr/>
        <a:lstStyle/>
        <a:p>
          <a:endParaRPr lang="sv-SE"/>
        </a:p>
      </dgm:t>
    </dgm:pt>
    <dgm:pt modelId="{FC474314-ED65-48DC-8041-B77493943D8D}">
      <dgm:prSet phldrT="[Text]"/>
      <dgm:spPr/>
      <dgm:t>
        <a:bodyPr/>
        <a:lstStyle/>
        <a:p>
          <a:r>
            <a:rPr lang="sv-SE"/>
            <a:t>För avverkningar som påbörjas 30 december eller senare skall ni göra en anmälan eller s.k. förklaring om tillbörlig aktsamhet till EU:s system </a:t>
          </a:r>
          <a:r>
            <a:rPr lang="sv-SE" err="1"/>
            <a:t>Traces</a:t>
          </a:r>
          <a:r>
            <a:rPr lang="sv-SE"/>
            <a:t>. För avverkningar som pågår den 30 december behövs enligt Skogsstyrelsen ingen retroaktiv anmälan göras. Kom ihåg att kravet på anmälan avser alla huggningsformer – inte bara slutavverkningar</a:t>
          </a:r>
        </a:p>
      </dgm:t>
    </dgm:pt>
    <dgm:pt modelId="{52067D6F-9015-467D-A65F-1723BAD28E9C}" type="parTrans" cxnId="{6D0F35A2-929C-4856-B88A-C8B3B80C462D}">
      <dgm:prSet/>
      <dgm:spPr/>
      <dgm:t>
        <a:bodyPr/>
        <a:lstStyle/>
        <a:p>
          <a:endParaRPr lang="sv-SE"/>
        </a:p>
      </dgm:t>
    </dgm:pt>
    <dgm:pt modelId="{422E0E38-D01D-410D-B4FF-AA32EE805A3A}" type="sibTrans" cxnId="{6D0F35A2-929C-4856-B88A-C8B3B80C462D}">
      <dgm:prSet/>
      <dgm:spPr/>
      <dgm:t>
        <a:bodyPr/>
        <a:lstStyle/>
        <a:p>
          <a:endParaRPr lang="sv-SE"/>
        </a:p>
      </dgm:t>
    </dgm:pt>
    <dgm:pt modelId="{A610092E-5305-4E56-9E5B-B55B5B403AD2}">
      <dgm:prSet phldrT="[Text]"/>
      <dgm:spPr/>
      <dgm:t>
        <a:bodyPr/>
        <a:lstStyle/>
        <a:p>
          <a:r>
            <a:rPr lang="sv-SE"/>
            <a:t>Se till att ni har koordinatdata eller en </a:t>
          </a:r>
          <a:r>
            <a:rPr lang="sv-SE" err="1"/>
            <a:t>kartfil</a:t>
          </a:r>
          <a:r>
            <a:rPr lang="sv-SE"/>
            <a:t> sparad för all avverkning som utförs. Var beredd på att dela den med er kund på förfrågan. Spara all information som ingår i anmälan till EU samt vem ni köpt och sålt era produkter till i 5 år.</a:t>
          </a:r>
        </a:p>
      </dgm:t>
    </dgm:pt>
    <dgm:pt modelId="{80CAD95D-D611-4C25-B0F8-CCFA01E19E1C}" type="parTrans" cxnId="{3074B4ED-E2AE-45CB-B448-77BC21383E8A}">
      <dgm:prSet/>
      <dgm:spPr/>
      <dgm:t>
        <a:bodyPr/>
        <a:lstStyle/>
        <a:p>
          <a:endParaRPr lang="sv-SE"/>
        </a:p>
      </dgm:t>
    </dgm:pt>
    <dgm:pt modelId="{9F77F787-93F6-435A-BE7E-EADDBA8A0A51}" type="sibTrans" cxnId="{3074B4ED-E2AE-45CB-B448-77BC21383E8A}">
      <dgm:prSet/>
      <dgm:spPr/>
      <dgm:t>
        <a:bodyPr/>
        <a:lstStyle/>
        <a:p>
          <a:endParaRPr lang="sv-SE"/>
        </a:p>
      </dgm:t>
    </dgm:pt>
    <dgm:pt modelId="{7947AB8B-667F-4547-9659-92B9359BC06E}">
      <dgm:prSet/>
      <dgm:spPr/>
      <dgm:t>
        <a:bodyPr/>
        <a:lstStyle/>
        <a:p>
          <a:r>
            <a:rPr lang="sv-SE"/>
            <a:t>Lägg in referens och verifikationsnummer i Virkesordern i VIOL</a:t>
          </a:r>
        </a:p>
      </dgm:t>
    </dgm:pt>
    <dgm:pt modelId="{FAAAA633-125C-4151-A827-8FADC42E10F1}" type="parTrans" cxnId="{368F4FB1-8276-493F-8E56-1ABF39564BC7}">
      <dgm:prSet/>
      <dgm:spPr/>
      <dgm:t>
        <a:bodyPr/>
        <a:lstStyle/>
        <a:p>
          <a:endParaRPr lang="sv-SE"/>
        </a:p>
      </dgm:t>
    </dgm:pt>
    <dgm:pt modelId="{A1A9586D-E69E-4518-A3CE-6B5D8520559A}" type="sibTrans" cxnId="{368F4FB1-8276-493F-8E56-1ABF39564BC7}">
      <dgm:prSet/>
      <dgm:spPr/>
      <dgm:t>
        <a:bodyPr/>
        <a:lstStyle/>
        <a:p>
          <a:endParaRPr lang="sv-SE"/>
        </a:p>
      </dgm:t>
    </dgm:pt>
    <dgm:pt modelId="{019C4B52-272F-4258-AD0A-2E54B6EE29E5}">
      <dgm:prSet/>
      <dgm:spPr/>
      <dgm:t>
        <a:bodyPr/>
        <a:lstStyle/>
        <a:p>
          <a:r>
            <a:rPr lang="sv-SE">
              <a:ea typeface="Times New Roman" panose="02020603050405020304" pitchFamily="18" charset="0"/>
              <a:cs typeface="Times New Roman" panose="02020603050405020304" pitchFamily="18" charset="0"/>
            </a:rPr>
            <a:t>Se till att i era leverantörsavtal arbeta in en skrivning om leverantörens ansvar att säkerställa goda rutiner för att svara upp mot Avskogningsförordningen</a:t>
          </a:r>
          <a:endParaRPr lang="sv-SE"/>
        </a:p>
      </dgm:t>
    </dgm:pt>
    <dgm:pt modelId="{C89E5D60-8653-4086-9D75-D3085E23BFE1}" type="parTrans" cxnId="{71C3023A-D455-48AB-AFA8-1423784A4270}">
      <dgm:prSet/>
      <dgm:spPr/>
      <dgm:t>
        <a:bodyPr/>
        <a:lstStyle/>
        <a:p>
          <a:endParaRPr lang="sv-SE"/>
        </a:p>
      </dgm:t>
    </dgm:pt>
    <dgm:pt modelId="{4A3412A5-D33B-4AC7-A1C5-EC47300E28AC}" type="sibTrans" cxnId="{71C3023A-D455-48AB-AFA8-1423784A4270}">
      <dgm:prSet/>
      <dgm:spPr/>
      <dgm:t>
        <a:bodyPr/>
        <a:lstStyle/>
        <a:p>
          <a:endParaRPr lang="sv-SE"/>
        </a:p>
      </dgm:t>
    </dgm:pt>
    <dgm:pt modelId="{A0F1F6CC-9075-499E-953F-04F43BF2F02F}">
      <dgm:prSet/>
      <dgm:spPr/>
      <dgm:t>
        <a:bodyPr/>
        <a:lstStyle/>
        <a:p>
          <a:r>
            <a:rPr lang="sv-SE"/>
            <a:t>För försäljning av färdiga produkter baserad på träråvara krävs ytterligare en anmälan. Vi hoppas att tydlig info om vilken modell som får tillämpas kommer snart.</a:t>
          </a:r>
        </a:p>
      </dgm:t>
    </dgm:pt>
    <dgm:pt modelId="{109FEFF6-DAD8-4C34-9318-8B388CE8350D}" type="parTrans" cxnId="{83FD6879-DB31-431A-9D4D-9910CE3FF7F0}">
      <dgm:prSet/>
      <dgm:spPr/>
      <dgm:t>
        <a:bodyPr/>
        <a:lstStyle/>
        <a:p>
          <a:endParaRPr lang="sv-SE"/>
        </a:p>
      </dgm:t>
    </dgm:pt>
    <dgm:pt modelId="{1F843DCD-0FC5-40D1-8DF4-5F6B7AED72DD}" type="sibTrans" cxnId="{83FD6879-DB31-431A-9D4D-9910CE3FF7F0}">
      <dgm:prSet/>
      <dgm:spPr/>
      <dgm:t>
        <a:bodyPr/>
        <a:lstStyle/>
        <a:p>
          <a:endParaRPr lang="sv-SE"/>
        </a:p>
      </dgm:t>
    </dgm:pt>
    <dgm:pt modelId="{FDE07E1A-5D97-4962-AF9B-04035C555313}" type="pres">
      <dgm:prSet presAssocID="{188F3EBE-2B25-4A9B-88A3-B6A97F568A62}" presName="diagram" presStyleCnt="0">
        <dgm:presLayoutVars>
          <dgm:dir/>
          <dgm:resizeHandles val="exact"/>
        </dgm:presLayoutVars>
      </dgm:prSet>
      <dgm:spPr/>
    </dgm:pt>
    <dgm:pt modelId="{BEB58402-FE16-45B8-98EF-5ED577AC16B3}" type="pres">
      <dgm:prSet presAssocID="{FC474314-ED65-48DC-8041-B77493943D8D}" presName="node" presStyleLbl="node1" presStyleIdx="0" presStyleCnt="5">
        <dgm:presLayoutVars>
          <dgm:bulletEnabled val="1"/>
        </dgm:presLayoutVars>
      </dgm:prSet>
      <dgm:spPr/>
    </dgm:pt>
    <dgm:pt modelId="{EDFA0DBA-DA04-4128-A469-6E82B8972710}" type="pres">
      <dgm:prSet presAssocID="{422E0E38-D01D-410D-B4FF-AA32EE805A3A}" presName="sibTrans" presStyleCnt="0"/>
      <dgm:spPr/>
    </dgm:pt>
    <dgm:pt modelId="{143A2641-0D1A-4504-B29B-C380834E30F6}" type="pres">
      <dgm:prSet presAssocID="{7947AB8B-667F-4547-9659-92B9359BC06E}" presName="node" presStyleLbl="node1" presStyleIdx="1" presStyleCnt="5">
        <dgm:presLayoutVars>
          <dgm:bulletEnabled val="1"/>
        </dgm:presLayoutVars>
      </dgm:prSet>
      <dgm:spPr/>
    </dgm:pt>
    <dgm:pt modelId="{685120DD-24BA-436C-838F-9379585778D9}" type="pres">
      <dgm:prSet presAssocID="{A1A9586D-E69E-4518-A3CE-6B5D8520559A}" presName="sibTrans" presStyleCnt="0"/>
      <dgm:spPr/>
    </dgm:pt>
    <dgm:pt modelId="{BD9D9D5C-8304-41BF-97E9-975DAA41E159}" type="pres">
      <dgm:prSet presAssocID="{019C4B52-272F-4258-AD0A-2E54B6EE29E5}" presName="node" presStyleLbl="node1" presStyleIdx="2" presStyleCnt="5">
        <dgm:presLayoutVars>
          <dgm:bulletEnabled val="1"/>
        </dgm:presLayoutVars>
      </dgm:prSet>
      <dgm:spPr/>
    </dgm:pt>
    <dgm:pt modelId="{E54F0DDD-9599-4D36-9B54-6282DB79ED8F}" type="pres">
      <dgm:prSet presAssocID="{4A3412A5-D33B-4AC7-A1C5-EC47300E28AC}" presName="sibTrans" presStyleCnt="0"/>
      <dgm:spPr/>
    </dgm:pt>
    <dgm:pt modelId="{376D6A2B-3275-43C8-AEC2-D13608B90623}" type="pres">
      <dgm:prSet presAssocID="{A0F1F6CC-9075-499E-953F-04F43BF2F02F}" presName="node" presStyleLbl="node1" presStyleIdx="3" presStyleCnt="5">
        <dgm:presLayoutVars>
          <dgm:bulletEnabled val="1"/>
        </dgm:presLayoutVars>
      </dgm:prSet>
      <dgm:spPr/>
    </dgm:pt>
    <dgm:pt modelId="{97F50411-F179-45AA-9D34-A0869B808F98}" type="pres">
      <dgm:prSet presAssocID="{1F843DCD-0FC5-40D1-8DF4-5F6B7AED72DD}" presName="sibTrans" presStyleCnt="0"/>
      <dgm:spPr/>
    </dgm:pt>
    <dgm:pt modelId="{5F801FF0-0AC0-4D4E-B314-215D8430FB0D}" type="pres">
      <dgm:prSet presAssocID="{A610092E-5305-4E56-9E5B-B55B5B403AD2}" presName="node" presStyleLbl="node1" presStyleIdx="4" presStyleCnt="5">
        <dgm:presLayoutVars>
          <dgm:bulletEnabled val="1"/>
        </dgm:presLayoutVars>
      </dgm:prSet>
      <dgm:spPr/>
    </dgm:pt>
  </dgm:ptLst>
  <dgm:cxnLst>
    <dgm:cxn modelId="{44A1A308-B704-49B3-ACBE-63AB6C21C460}" type="presOf" srcId="{FC474314-ED65-48DC-8041-B77493943D8D}" destId="{BEB58402-FE16-45B8-98EF-5ED577AC16B3}" srcOrd="0" destOrd="0" presId="urn:microsoft.com/office/officeart/2005/8/layout/default"/>
    <dgm:cxn modelId="{A1317821-1CEE-49D0-A40A-AAF9DA315C37}" type="presOf" srcId="{7947AB8B-667F-4547-9659-92B9359BC06E}" destId="{143A2641-0D1A-4504-B29B-C380834E30F6}" srcOrd="0" destOrd="0" presId="urn:microsoft.com/office/officeart/2005/8/layout/default"/>
    <dgm:cxn modelId="{42386730-41BA-4516-BB50-ABA007A9B1D2}" type="presOf" srcId="{A0F1F6CC-9075-499E-953F-04F43BF2F02F}" destId="{376D6A2B-3275-43C8-AEC2-D13608B90623}" srcOrd="0" destOrd="0" presId="urn:microsoft.com/office/officeart/2005/8/layout/default"/>
    <dgm:cxn modelId="{71C3023A-D455-48AB-AFA8-1423784A4270}" srcId="{188F3EBE-2B25-4A9B-88A3-B6A97F568A62}" destId="{019C4B52-272F-4258-AD0A-2E54B6EE29E5}" srcOrd="2" destOrd="0" parTransId="{C89E5D60-8653-4086-9D75-D3085E23BFE1}" sibTransId="{4A3412A5-D33B-4AC7-A1C5-EC47300E28AC}"/>
    <dgm:cxn modelId="{83FD6879-DB31-431A-9D4D-9910CE3FF7F0}" srcId="{188F3EBE-2B25-4A9B-88A3-B6A97F568A62}" destId="{A0F1F6CC-9075-499E-953F-04F43BF2F02F}" srcOrd="3" destOrd="0" parTransId="{109FEFF6-DAD8-4C34-9318-8B388CE8350D}" sibTransId="{1F843DCD-0FC5-40D1-8DF4-5F6B7AED72DD}"/>
    <dgm:cxn modelId="{F978E698-A04D-434B-89AD-D7B77484298C}" type="presOf" srcId="{188F3EBE-2B25-4A9B-88A3-B6A97F568A62}" destId="{FDE07E1A-5D97-4962-AF9B-04035C555313}" srcOrd="0" destOrd="0" presId="urn:microsoft.com/office/officeart/2005/8/layout/default"/>
    <dgm:cxn modelId="{6D0F35A2-929C-4856-B88A-C8B3B80C462D}" srcId="{188F3EBE-2B25-4A9B-88A3-B6A97F568A62}" destId="{FC474314-ED65-48DC-8041-B77493943D8D}" srcOrd="0" destOrd="0" parTransId="{52067D6F-9015-467D-A65F-1723BAD28E9C}" sibTransId="{422E0E38-D01D-410D-B4FF-AA32EE805A3A}"/>
    <dgm:cxn modelId="{368F4FB1-8276-493F-8E56-1ABF39564BC7}" srcId="{188F3EBE-2B25-4A9B-88A3-B6A97F568A62}" destId="{7947AB8B-667F-4547-9659-92B9359BC06E}" srcOrd="1" destOrd="0" parTransId="{FAAAA633-125C-4151-A827-8FADC42E10F1}" sibTransId="{A1A9586D-E69E-4518-A3CE-6B5D8520559A}"/>
    <dgm:cxn modelId="{CC75E0D4-E913-4CDC-9401-C60FF271F2FB}" type="presOf" srcId="{019C4B52-272F-4258-AD0A-2E54B6EE29E5}" destId="{BD9D9D5C-8304-41BF-97E9-975DAA41E159}" srcOrd="0" destOrd="0" presId="urn:microsoft.com/office/officeart/2005/8/layout/default"/>
    <dgm:cxn modelId="{3074B4ED-E2AE-45CB-B448-77BC21383E8A}" srcId="{188F3EBE-2B25-4A9B-88A3-B6A97F568A62}" destId="{A610092E-5305-4E56-9E5B-B55B5B403AD2}" srcOrd="4" destOrd="0" parTransId="{80CAD95D-D611-4C25-B0F8-CCFA01E19E1C}" sibTransId="{9F77F787-93F6-435A-BE7E-EADDBA8A0A51}"/>
    <dgm:cxn modelId="{DFA182F3-BC6D-4B06-B79E-A214DF53F76C}" type="presOf" srcId="{A610092E-5305-4E56-9E5B-B55B5B403AD2}" destId="{5F801FF0-0AC0-4D4E-B314-215D8430FB0D}" srcOrd="0" destOrd="0" presId="urn:microsoft.com/office/officeart/2005/8/layout/default"/>
    <dgm:cxn modelId="{67A8F858-DB93-4225-A24D-081162D2982B}" type="presParOf" srcId="{FDE07E1A-5D97-4962-AF9B-04035C555313}" destId="{BEB58402-FE16-45B8-98EF-5ED577AC16B3}" srcOrd="0" destOrd="0" presId="urn:microsoft.com/office/officeart/2005/8/layout/default"/>
    <dgm:cxn modelId="{60F7DFF2-014A-476E-AAAB-F91EB8B86F25}" type="presParOf" srcId="{FDE07E1A-5D97-4962-AF9B-04035C555313}" destId="{EDFA0DBA-DA04-4128-A469-6E82B8972710}" srcOrd="1" destOrd="0" presId="urn:microsoft.com/office/officeart/2005/8/layout/default"/>
    <dgm:cxn modelId="{F9CBC62B-9168-4A4F-8E0C-F7D700A5685E}" type="presParOf" srcId="{FDE07E1A-5D97-4962-AF9B-04035C555313}" destId="{143A2641-0D1A-4504-B29B-C380834E30F6}" srcOrd="2" destOrd="0" presId="urn:microsoft.com/office/officeart/2005/8/layout/default"/>
    <dgm:cxn modelId="{4DAACC80-A8FA-4A98-A2F7-B2590682903C}" type="presParOf" srcId="{FDE07E1A-5D97-4962-AF9B-04035C555313}" destId="{685120DD-24BA-436C-838F-9379585778D9}" srcOrd="3" destOrd="0" presId="urn:microsoft.com/office/officeart/2005/8/layout/default"/>
    <dgm:cxn modelId="{CCAEAE32-5420-41EE-A34B-D7DBE77F9F9E}" type="presParOf" srcId="{FDE07E1A-5D97-4962-AF9B-04035C555313}" destId="{BD9D9D5C-8304-41BF-97E9-975DAA41E159}" srcOrd="4" destOrd="0" presId="urn:microsoft.com/office/officeart/2005/8/layout/default"/>
    <dgm:cxn modelId="{2D1431A1-CA5F-4569-8B1F-27F41808DC54}" type="presParOf" srcId="{FDE07E1A-5D97-4962-AF9B-04035C555313}" destId="{E54F0DDD-9599-4D36-9B54-6282DB79ED8F}" srcOrd="5" destOrd="0" presId="urn:microsoft.com/office/officeart/2005/8/layout/default"/>
    <dgm:cxn modelId="{6F0B2E31-BD0E-462E-AE65-001DC4F8C486}" type="presParOf" srcId="{FDE07E1A-5D97-4962-AF9B-04035C555313}" destId="{376D6A2B-3275-43C8-AEC2-D13608B90623}" srcOrd="6" destOrd="0" presId="urn:microsoft.com/office/officeart/2005/8/layout/default"/>
    <dgm:cxn modelId="{B407AA37-5F45-4D1D-B601-89BE191F2A7F}" type="presParOf" srcId="{FDE07E1A-5D97-4962-AF9B-04035C555313}" destId="{97F50411-F179-45AA-9D34-A0869B808F98}" srcOrd="7" destOrd="0" presId="urn:microsoft.com/office/officeart/2005/8/layout/default"/>
    <dgm:cxn modelId="{0CE2E873-0F3C-49E8-A7BA-41F32AD7D932}" type="presParOf" srcId="{FDE07E1A-5D97-4962-AF9B-04035C555313}" destId="{5F801FF0-0AC0-4D4E-B314-215D8430FB0D}" srcOrd="8" destOrd="0" presId="urn:microsoft.com/office/officeart/2005/8/layout/default"/>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6173671-C8CF-4FB7-BCD4-515889D244B1}">
      <dsp:nvSpPr>
        <dsp:cNvPr id="0" name=""/>
        <dsp:cNvSpPr/>
      </dsp:nvSpPr>
      <dsp:spPr>
        <a:xfrm rot="5400000">
          <a:off x="3535284" y="96637"/>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9530" tIns="49530" rIns="49530" bIns="49530" numCol="1" spcCol="1270" anchor="ctr" anchorCtr="0">
          <a:noAutofit/>
        </a:bodyPr>
        <a:lstStyle/>
        <a:p>
          <a:pPr marL="0" lvl="0" indent="0" algn="ctr" defTabSz="577850">
            <a:lnSpc>
              <a:spcPct val="90000"/>
            </a:lnSpc>
            <a:spcBef>
              <a:spcPct val="0"/>
            </a:spcBef>
            <a:spcAft>
              <a:spcPct val="35000"/>
            </a:spcAft>
            <a:buNone/>
          </a:pPr>
          <a:r>
            <a:rPr lang="sv-SE" sz="1300" kern="1200"/>
            <a:t>Berör trä, gummi, nötkött, kaffe m.fl. råvaror</a:t>
          </a:r>
        </a:p>
      </dsp:txBody>
      <dsp:txXfrm rot="-5400000">
        <a:off x="3831969" y="230996"/>
        <a:ext cx="885803" cy="1018164"/>
      </dsp:txXfrm>
    </dsp:sp>
    <dsp:sp modelId="{897A5FB8-BA26-4048-9A0F-EF23F0AD3B72}">
      <dsp:nvSpPr>
        <dsp:cNvPr id="0" name=""/>
        <dsp:cNvSpPr/>
      </dsp:nvSpPr>
      <dsp:spPr>
        <a:xfrm>
          <a:off x="4957362" y="296326"/>
          <a:ext cx="1650758" cy="887504"/>
        </a:xfrm>
        <a:prstGeom prst="rect">
          <a:avLst/>
        </a:prstGeom>
        <a:noFill/>
        <a:ln>
          <a:noFill/>
        </a:ln>
        <a:effectLst/>
      </dsp:spPr>
      <dsp:style>
        <a:lnRef idx="0">
          <a:scrgbClr r="0" g="0" b="0"/>
        </a:lnRef>
        <a:fillRef idx="0">
          <a:scrgbClr r="0" g="0" b="0"/>
        </a:fillRef>
        <a:effectRef idx="0">
          <a:scrgbClr r="0" g="0" b="0"/>
        </a:effectRef>
        <a:fontRef idx="minor"/>
      </dsp:style>
    </dsp:sp>
    <dsp:sp modelId="{1667B9A3-AB5D-42B9-A34D-CE550D9FA3A7}">
      <dsp:nvSpPr>
        <dsp:cNvPr id="0" name=""/>
        <dsp:cNvSpPr/>
      </dsp:nvSpPr>
      <dsp:spPr>
        <a:xfrm rot="5400000">
          <a:off x="2145451" y="96637"/>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33400">
            <a:lnSpc>
              <a:spcPct val="90000"/>
            </a:lnSpc>
            <a:spcBef>
              <a:spcPct val="0"/>
            </a:spcBef>
            <a:spcAft>
              <a:spcPct val="35000"/>
            </a:spcAft>
            <a:buNone/>
          </a:pPr>
          <a:r>
            <a:rPr lang="sv-SE" sz="1200" kern="1200"/>
            <a:t>Stoppa avskogning och degenerering av skog</a:t>
          </a:r>
        </a:p>
      </dsp:txBody>
      <dsp:txXfrm rot="-5400000">
        <a:off x="2442136" y="230996"/>
        <a:ext cx="885803" cy="1018164"/>
      </dsp:txXfrm>
    </dsp:sp>
    <dsp:sp modelId="{13CF83D9-7258-4E72-8681-2B48FA842531}">
      <dsp:nvSpPr>
        <dsp:cNvPr id="0" name=""/>
        <dsp:cNvSpPr/>
      </dsp:nvSpPr>
      <dsp:spPr>
        <a:xfrm rot="5400000">
          <a:off x="2837705" y="1352161"/>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sv-SE" sz="1400" kern="1200">
              <a:latin typeface="Noto Serif"/>
              <a:ea typeface="+mn-ea"/>
              <a:cs typeface="+mn-cs"/>
            </a:rPr>
            <a:t>Gäller även för förädlade produkter</a:t>
          </a:r>
        </a:p>
      </dsp:txBody>
      <dsp:txXfrm rot="-5400000">
        <a:off x="3134390" y="1486520"/>
        <a:ext cx="885803" cy="1018164"/>
      </dsp:txXfrm>
    </dsp:sp>
    <dsp:sp modelId="{B51B6A7F-B32C-46D2-BB86-4AB735E35E8F}">
      <dsp:nvSpPr>
        <dsp:cNvPr id="0" name=""/>
        <dsp:cNvSpPr/>
      </dsp:nvSpPr>
      <dsp:spPr>
        <a:xfrm>
          <a:off x="1283093" y="1551849"/>
          <a:ext cx="1597508" cy="887504"/>
        </a:xfrm>
        <a:prstGeom prst="rect">
          <a:avLst/>
        </a:prstGeom>
        <a:noFill/>
        <a:ln>
          <a:noFill/>
        </a:ln>
        <a:effectLst/>
      </dsp:spPr>
      <dsp:style>
        <a:lnRef idx="0">
          <a:scrgbClr r="0" g="0" b="0"/>
        </a:lnRef>
        <a:fillRef idx="0">
          <a:scrgbClr r="0" g="0" b="0"/>
        </a:fillRef>
        <a:effectRef idx="0">
          <a:scrgbClr r="0" g="0" b="0"/>
        </a:effectRef>
        <a:fontRef idx="minor"/>
      </dsp:style>
    </dsp:sp>
    <dsp:sp modelId="{6D0BE8D9-FE31-4BC5-AEC6-6C7BCECA9F19}">
      <dsp:nvSpPr>
        <dsp:cNvPr id="0" name=""/>
        <dsp:cNvSpPr/>
      </dsp:nvSpPr>
      <dsp:spPr>
        <a:xfrm rot="5400000">
          <a:off x="4227538" y="1352161"/>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577850">
            <a:lnSpc>
              <a:spcPct val="90000"/>
            </a:lnSpc>
            <a:spcBef>
              <a:spcPct val="0"/>
            </a:spcBef>
            <a:spcAft>
              <a:spcPct val="35000"/>
            </a:spcAft>
            <a:buNone/>
          </a:pPr>
          <a:r>
            <a:rPr lang="sv-SE" sz="1300" kern="1200"/>
            <a:t>Gäller även producenter utanför EU</a:t>
          </a:r>
        </a:p>
      </dsp:txBody>
      <dsp:txXfrm rot="-5400000">
        <a:off x="4524223" y="1486520"/>
        <a:ext cx="885803" cy="1018164"/>
      </dsp:txXfrm>
    </dsp:sp>
    <dsp:sp modelId="{62FF4182-98A8-461E-AE4D-8DE595C223BE}">
      <dsp:nvSpPr>
        <dsp:cNvPr id="0" name=""/>
        <dsp:cNvSpPr/>
      </dsp:nvSpPr>
      <dsp:spPr>
        <a:xfrm rot="5400000">
          <a:off x="3535284" y="2591515"/>
          <a:ext cx="1479174" cy="131922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t>Bygger på spårbarhet tillbaka till avverknings-trakten</a:t>
          </a:r>
        </a:p>
      </dsp:txBody>
      <dsp:txXfrm rot="-5400000">
        <a:off x="3823242" y="2744739"/>
        <a:ext cx="903257" cy="1012774"/>
      </dsp:txXfrm>
    </dsp:sp>
    <dsp:sp modelId="{6CB88487-0760-44E0-8A92-94FF8382617F}">
      <dsp:nvSpPr>
        <dsp:cNvPr id="0" name=""/>
        <dsp:cNvSpPr/>
      </dsp:nvSpPr>
      <dsp:spPr>
        <a:xfrm>
          <a:off x="4957362" y="2807373"/>
          <a:ext cx="1650758" cy="887504"/>
        </a:xfrm>
        <a:prstGeom prst="rect">
          <a:avLst/>
        </a:prstGeom>
        <a:noFill/>
        <a:ln>
          <a:noFill/>
        </a:ln>
        <a:effectLst/>
      </dsp:spPr>
      <dsp:style>
        <a:lnRef idx="0">
          <a:scrgbClr r="0" g="0" b="0"/>
        </a:lnRef>
        <a:fillRef idx="0">
          <a:scrgbClr r="0" g="0" b="0"/>
        </a:fillRef>
        <a:effectRef idx="0">
          <a:scrgbClr r="0" g="0" b="0"/>
        </a:effectRef>
        <a:fontRef idx="minor"/>
      </dsp:style>
    </dsp:sp>
    <dsp:sp modelId="{05A6CB2C-DC9B-480F-9552-9B279A139AEB}">
      <dsp:nvSpPr>
        <dsp:cNvPr id="0" name=""/>
        <dsp:cNvSpPr/>
      </dsp:nvSpPr>
      <dsp:spPr>
        <a:xfrm rot="5400000">
          <a:off x="2145451" y="2607684"/>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622300">
            <a:lnSpc>
              <a:spcPct val="90000"/>
            </a:lnSpc>
            <a:spcBef>
              <a:spcPct val="0"/>
            </a:spcBef>
            <a:spcAft>
              <a:spcPct val="35000"/>
            </a:spcAft>
            <a:buNone/>
          </a:pPr>
          <a:r>
            <a:rPr lang="sv-SE" sz="1400" kern="1200"/>
            <a:t>Alla i affärsleds-kedjan är ansvariga</a:t>
          </a:r>
        </a:p>
      </dsp:txBody>
      <dsp:txXfrm rot="-5400000">
        <a:off x="2442136" y="2742043"/>
        <a:ext cx="885803" cy="1018164"/>
      </dsp:txXfrm>
    </dsp:sp>
    <dsp:sp modelId="{1E0062D1-E3F0-4A6C-AB03-1D6F0756783B}">
      <dsp:nvSpPr>
        <dsp:cNvPr id="0" name=""/>
        <dsp:cNvSpPr/>
      </dsp:nvSpPr>
      <dsp:spPr>
        <a:xfrm rot="5400000">
          <a:off x="2837705" y="3863208"/>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488950">
            <a:lnSpc>
              <a:spcPct val="90000"/>
            </a:lnSpc>
            <a:spcBef>
              <a:spcPct val="0"/>
            </a:spcBef>
            <a:spcAft>
              <a:spcPct val="35000"/>
            </a:spcAft>
            <a:buNone/>
          </a:pPr>
          <a:r>
            <a:rPr lang="sv-SE" sz="1100" kern="1200"/>
            <a:t>Övervakning av ansvarig nationell myndighet</a:t>
          </a:r>
        </a:p>
      </dsp:txBody>
      <dsp:txXfrm rot="-5400000">
        <a:off x="3134390" y="3997567"/>
        <a:ext cx="885803" cy="1018164"/>
      </dsp:txXfrm>
    </dsp:sp>
    <dsp:sp modelId="{77DCE544-7BE8-40B9-8259-E66352D05167}">
      <dsp:nvSpPr>
        <dsp:cNvPr id="0" name=""/>
        <dsp:cNvSpPr/>
      </dsp:nvSpPr>
      <dsp:spPr>
        <a:xfrm>
          <a:off x="1283093" y="4062896"/>
          <a:ext cx="1597508" cy="887504"/>
        </a:xfrm>
        <a:prstGeom prst="rect">
          <a:avLst/>
        </a:prstGeom>
        <a:noFill/>
        <a:ln>
          <a:noFill/>
        </a:ln>
        <a:effectLst/>
      </dsp:spPr>
      <dsp:style>
        <a:lnRef idx="0">
          <a:scrgbClr r="0" g="0" b="0"/>
        </a:lnRef>
        <a:fillRef idx="0">
          <a:scrgbClr r="0" g="0" b="0"/>
        </a:fillRef>
        <a:effectRef idx="0">
          <a:scrgbClr r="0" g="0" b="0"/>
        </a:effectRef>
        <a:fontRef idx="minor"/>
      </dsp:style>
    </dsp:sp>
    <dsp:sp modelId="{9DC63850-62C6-4711-A584-7AD0E3E7C725}">
      <dsp:nvSpPr>
        <dsp:cNvPr id="0" name=""/>
        <dsp:cNvSpPr/>
      </dsp:nvSpPr>
      <dsp:spPr>
        <a:xfrm rot="5400000">
          <a:off x="4227538" y="3863208"/>
          <a:ext cx="1479174" cy="1286881"/>
        </a:xfrm>
        <a:prstGeom prst="hexagon">
          <a:avLst>
            <a:gd name="adj" fmla="val 25000"/>
            <a:gd name="vf" fmla="val 115470"/>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0" tIns="0" rIns="0" bIns="0" numCol="1" spcCol="1270" anchor="ctr" anchorCtr="0">
          <a:noAutofit/>
        </a:bodyPr>
        <a:lstStyle/>
        <a:p>
          <a:pPr marL="0" lvl="0" indent="0" algn="ctr" defTabSz="711200">
            <a:lnSpc>
              <a:spcPct val="90000"/>
            </a:lnSpc>
            <a:spcBef>
              <a:spcPct val="0"/>
            </a:spcBef>
            <a:spcAft>
              <a:spcPct val="35000"/>
            </a:spcAft>
            <a:buNone/>
          </a:pPr>
          <a:r>
            <a:rPr lang="sv-SE" sz="1600" kern="1200"/>
            <a:t>En anmälan skall göras till EU</a:t>
          </a:r>
        </a:p>
      </dsp:txBody>
      <dsp:txXfrm rot="-5400000">
        <a:off x="4524223" y="3997567"/>
        <a:ext cx="885803" cy="1018164"/>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D11A7F4-FBDC-4D1E-9613-2595FC1187C2}">
      <dsp:nvSpPr>
        <dsp:cNvPr id="0" name=""/>
        <dsp:cNvSpPr/>
      </dsp:nvSpPr>
      <dsp:spPr>
        <a:xfrm>
          <a:off x="992" y="0"/>
          <a:ext cx="2579687" cy="541866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sv-SE" sz="2300" kern="1200"/>
            <a:t>Information som skickas in till EU</a:t>
          </a:r>
        </a:p>
      </dsp:txBody>
      <dsp:txXfrm>
        <a:off x="992" y="0"/>
        <a:ext cx="2579687" cy="1625600"/>
      </dsp:txXfrm>
    </dsp:sp>
    <dsp:sp modelId="{F8143FC7-963E-4069-AED4-3AC0E3ABF259}">
      <dsp:nvSpPr>
        <dsp:cNvPr id="0" name=""/>
        <dsp:cNvSpPr/>
      </dsp:nvSpPr>
      <dsp:spPr>
        <a:xfrm>
          <a:off x="258960" y="2087182"/>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Harmoniserad varukod  för aktuell produkt</a:t>
          </a:r>
          <a:endParaRPr lang="sv-SE" sz="800" kern="1200"/>
        </a:p>
      </dsp:txBody>
      <dsp:txXfrm>
        <a:off x="270293" y="2098515"/>
        <a:ext cx="2041084" cy="364287"/>
      </dsp:txXfrm>
    </dsp:sp>
    <dsp:sp modelId="{EE585B8D-CCDB-4FA7-B524-9F3C9157B025}">
      <dsp:nvSpPr>
        <dsp:cNvPr id="0" name=""/>
        <dsp:cNvSpPr/>
      </dsp:nvSpPr>
      <dsp:spPr>
        <a:xfrm>
          <a:off x="249901" y="1652361"/>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Namn och adress på verksamhetsutövaren</a:t>
          </a:r>
        </a:p>
      </dsp:txBody>
      <dsp:txXfrm>
        <a:off x="261234" y="1663694"/>
        <a:ext cx="2041084" cy="364287"/>
      </dsp:txXfrm>
    </dsp:sp>
    <dsp:sp modelId="{184BA274-EB9A-4E3C-B8AC-718830178D90}">
      <dsp:nvSpPr>
        <dsp:cNvPr id="0" name=""/>
        <dsp:cNvSpPr/>
      </dsp:nvSpPr>
      <dsp:spPr>
        <a:xfrm>
          <a:off x="258960" y="2519307"/>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Planerad kvantitet uttryckt i vikt, volym eller antal</a:t>
          </a:r>
          <a:endParaRPr lang="sv-SE" sz="800" kern="1200"/>
        </a:p>
      </dsp:txBody>
      <dsp:txXfrm>
        <a:off x="270293" y="2530640"/>
        <a:ext cx="2041084" cy="364287"/>
      </dsp:txXfrm>
    </dsp:sp>
    <dsp:sp modelId="{927AD6BE-DFF3-4904-BDC5-D77C09AAC9D1}">
      <dsp:nvSpPr>
        <dsp:cNvPr id="0" name=""/>
        <dsp:cNvSpPr/>
      </dsp:nvSpPr>
      <dsp:spPr>
        <a:xfrm>
          <a:off x="249921" y="2945359"/>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kern="1200"/>
            <a:t>Handelsnamn på produkten</a:t>
          </a:r>
        </a:p>
      </dsp:txBody>
      <dsp:txXfrm>
        <a:off x="261254" y="2956692"/>
        <a:ext cx="2041084" cy="364287"/>
      </dsp:txXfrm>
    </dsp:sp>
    <dsp:sp modelId="{5B6AC8B2-CF90-4A6F-A6E8-F0A5FDCE3274}">
      <dsp:nvSpPr>
        <dsp:cNvPr id="0" name=""/>
        <dsp:cNvSpPr/>
      </dsp:nvSpPr>
      <dsp:spPr>
        <a:xfrm>
          <a:off x="249901" y="3392810"/>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a:ea typeface="Open Sans SemiBold"/>
              <a:cs typeface="Open Sans SemiBold"/>
            </a:rPr>
            <a:t>Produktionsland</a:t>
          </a:r>
        </a:p>
      </dsp:txBody>
      <dsp:txXfrm>
        <a:off x="261234" y="3404143"/>
        <a:ext cx="2041084" cy="364287"/>
      </dsp:txXfrm>
    </dsp:sp>
    <dsp:sp modelId="{3C9ECD79-3968-41BA-8CDD-CBB6110CE2EB}">
      <dsp:nvSpPr>
        <dsp:cNvPr id="0" name=""/>
        <dsp:cNvSpPr/>
      </dsp:nvSpPr>
      <dsp:spPr>
        <a:xfrm>
          <a:off x="258981" y="4734173"/>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a:ea typeface="Open Sans SemiBold"/>
              <a:cs typeface="Open Sans SemiBold"/>
            </a:rPr>
            <a:t>Referensnummer från tidigare anmälningar som ingår i den aktuella.</a:t>
          </a:r>
        </a:p>
      </dsp:txBody>
      <dsp:txXfrm>
        <a:off x="270314" y="4745506"/>
        <a:ext cx="2041084" cy="364287"/>
      </dsp:txXfrm>
    </dsp:sp>
    <dsp:sp modelId="{AE520F80-CE2C-40BC-95D3-1A6E9AFAE26E}">
      <dsp:nvSpPr>
        <dsp:cNvPr id="0" name=""/>
        <dsp:cNvSpPr/>
      </dsp:nvSpPr>
      <dsp:spPr>
        <a:xfrm>
          <a:off x="258960" y="4268027"/>
          <a:ext cx="2081869" cy="395264"/>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a:ea typeface="Open Sans SemiBold"/>
              <a:cs typeface="Open Sans SemiBold"/>
            </a:rPr>
            <a:t>Geografiskt ursprung uttryckt som centrumkoordinat eller geografisk yta  </a:t>
          </a:r>
          <a:endParaRPr lang="sv-SE" sz="800" b="0" kern="1200">
            <a:latin typeface="Open Sans SemiBold" panose="020B0706030804020204" pitchFamily="34" charset="0"/>
            <a:ea typeface="Open Sans SemiBold" panose="020B0706030804020204" pitchFamily="34" charset="0"/>
            <a:cs typeface="Open Sans SemiBold" panose="020B0706030804020204" pitchFamily="34" charset="0"/>
          </a:endParaRPr>
        </a:p>
      </dsp:txBody>
      <dsp:txXfrm>
        <a:off x="270537" y="4279604"/>
        <a:ext cx="2058715" cy="372110"/>
      </dsp:txXfrm>
    </dsp:sp>
    <dsp:sp modelId="{B659B856-9DC7-4440-8C24-D82931F366B3}">
      <dsp:nvSpPr>
        <dsp:cNvPr id="0" name=""/>
        <dsp:cNvSpPr/>
      </dsp:nvSpPr>
      <dsp:spPr>
        <a:xfrm>
          <a:off x="249921" y="3838406"/>
          <a:ext cx="2063750" cy="386953"/>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rPr>
            <a:t>Vetenskapligt namn för trädslaget</a:t>
          </a:r>
        </a:p>
      </dsp:txBody>
      <dsp:txXfrm>
        <a:off x="261254" y="3849739"/>
        <a:ext cx="2041084" cy="364287"/>
      </dsp:txXfrm>
    </dsp:sp>
    <dsp:sp modelId="{1DB9C52D-C2D7-47BA-A53C-B76D119AA32C}">
      <dsp:nvSpPr>
        <dsp:cNvPr id="0" name=""/>
        <dsp:cNvSpPr/>
      </dsp:nvSpPr>
      <dsp:spPr>
        <a:xfrm>
          <a:off x="2774156" y="0"/>
          <a:ext cx="2579687" cy="541866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sv-SE" sz="2300" kern="1200"/>
            <a:t>Information som skapas av EU-systemet eller anges i VIOL</a:t>
          </a:r>
        </a:p>
      </dsp:txBody>
      <dsp:txXfrm>
        <a:off x="2774156" y="0"/>
        <a:ext cx="2579687" cy="1625600"/>
      </dsp:txXfrm>
    </dsp:sp>
    <dsp:sp modelId="{A26ACCFA-65E2-4D0B-802B-08A6E055E6C4}">
      <dsp:nvSpPr>
        <dsp:cNvPr id="0" name=""/>
        <dsp:cNvSpPr/>
      </dsp:nvSpPr>
      <dsp:spPr>
        <a:xfrm>
          <a:off x="3032125" y="1626063"/>
          <a:ext cx="2063749" cy="10645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a:ea typeface="Open Sans SemiBold"/>
              <a:cs typeface="Open Sans SemiBold"/>
            </a:rPr>
            <a:t>EUDR Referensnummer</a:t>
          </a:r>
          <a:endParaRPr lang="sv-SE" sz="800" kern="1200"/>
        </a:p>
      </dsp:txBody>
      <dsp:txXfrm>
        <a:off x="3063305" y="1657243"/>
        <a:ext cx="2001389" cy="1002191"/>
      </dsp:txXfrm>
    </dsp:sp>
    <dsp:sp modelId="{64705DA5-0F50-4A86-B3FF-361486AF65FA}">
      <dsp:nvSpPr>
        <dsp:cNvPr id="0" name=""/>
        <dsp:cNvSpPr/>
      </dsp:nvSpPr>
      <dsp:spPr>
        <a:xfrm>
          <a:off x="3032125" y="2854391"/>
          <a:ext cx="2063749" cy="10645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a:ea typeface="Open Sans SemiBold"/>
              <a:cs typeface="Open Sans SemiBold"/>
            </a:rPr>
            <a:t>EUDR Verifikationsnummer</a:t>
          </a:r>
          <a:endParaRPr lang="sv-SE" sz="800" kern="1200"/>
        </a:p>
      </dsp:txBody>
      <dsp:txXfrm>
        <a:off x="3063305" y="2885571"/>
        <a:ext cx="2001389" cy="1002191"/>
      </dsp:txXfrm>
    </dsp:sp>
    <dsp:sp modelId="{3B4048C2-C93A-4B66-A221-565AB553CD7D}">
      <dsp:nvSpPr>
        <dsp:cNvPr id="0" name=""/>
        <dsp:cNvSpPr/>
      </dsp:nvSpPr>
      <dsp:spPr>
        <a:xfrm>
          <a:off x="3032125" y="4082719"/>
          <a:ext cx="2063749" cy="1064551"/>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kern="1200"/>
            <a:t>”Flaggan”  EUDR stöd ej begärt</a:t>
          </a:r>
        </a:p>
      </dsp:txBody>
      <dsp:txXfrm>
        <a:off x="3063305" y="4113899"/>
        <a:ext cx="2001389" cy="1002191"/>
      </dsp:txXfrm>
    </dsp:sp>
    <dsp:sp modelId="{0E72B321-9094-4AF0-B136-35BA62201111}">
      <dsp:nvSpPr>
        <dsp:cNvPr id="0" name=""/>
        <dsp:cNvSpPr/>
      </dsp:nvSpPr>
      <dsp:spPr>
        <a:xfrm>
          <a:off x="5547320" y="0"/>
          <a:ext cx="2579687" cy="5418667"/>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87630" tIns="87630" rIns="87630" bIns="87630" numCol="1" spcCol="1270" anchor="ctr" anchorCtr="0">
          <a:noAutofit/>
        </a:bodyPr>
        <a:lstStyle/>
        <a:p>
          <a:pPr marL="0" lvl="0" indent="0" algn="ctr" defTabSz="1022350">
            <a:lnSpc>
              <a:spcPct val="90000"/>
            </a:lnSpc>
            <a:spcBef>
              <a:spcPct val="0"/>
            </a:spcBef>
            <a:spcAft>
              <a:spcPct val="35000"/>
            </a:spcAft>
            <a:buNone/>
          </a:pPr>
          <a:r>
            <a:rPr lang="sv-SE" sz="2300" kern="1200"/>
            <a:t>Information som endast finns i  eget system</a:t>
          </a:r>
        </a:p>
      </dsp:txBody>
      <dsp:txXfrm>
        <a:off x="5547320" y="0"/>
        <a:ext cx="2579687" cy="1625600"/>
      </dsp:txXfrm>
    </dsp:sp>
    <dsp:sp modelId="{795556FB-2F14-481B-A803-AE0E986097D9}">
      <dsp:nvSpPr>
        <dsp:cNvPr id="0" name=""/>
        <dsp:cNvSpPr/>
      </dsp:nvSpPr>
      <dsp:spPr>
        <a:xfrm>
          <a:off x="5819797" y="1686731"/>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Tidsperiod under vilken produktionen ägt rum</a:t>
          </a:r>
          <a:endParaRPr lang="sv-SE" sz="800" kern="1200"/>
        </a:p>
      </dsp:txBody>
      <dsp:txXfrm>
        <a:off x="5835034" y="1701968"/>
        <a:ext cx="2033275" cy="489763"/>
      </dsp:txXfrm>
    </dsp:sp>
    <dsp:sp modelId="{9177B620-C349-4A27-AF6D-356B31AC47E2}">
      <dsp:nvSpPr>
        <dsp:cNvPr id="0" name=""/>
        <dsp:cNvSpPr/>
      </dsp:nvSpPr>
      <dsp:spPr>
        <a:xfrm>
          <a:off x="5828857" y="2290761"/>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sz="800" b="0" u="sng" kern="1200">
              <a:latin typeface="Open Sans SemiBold" panose="020B0706030804020204" pitchFamily="34" charset="0"/>
              <a:ea typeface="Open Sans SemiBold" panose="020B0706030804020204" pitchFamily="34" charset="0"/>
              <a:cs typeface="Open Sans SemiBold" panose="020B0706030804020204" pitchFamily="34" charset="0"/>
            </a:rPr>
            <a:t>kommer från</a:t>
          </a:r>
          <a:endParaRPr lang="sv-SE" sz="800" kern="1200"/>
        </a:p>
      </dsp:txBody>
      <dsp:txXfrm>
        <a:off x="5844094" y="2305998"/>
        <a:ext cx="2033275" cy="489763"/>
      </dsp:txXfrm>
    </dsp:sp>
    <dsp:sp modelId="{108F942C-74E0-4AF1-B74B-898DBA9396C3}">
      <dsp:nvSpPr>
        <dsp:cNvPr id="0" name=""/>
        <dsp:cNvSpPr/>
      </dsp:nvSpPr>
      <dsp:spPr>
        <a:xfrm>
          <a:off x="5792638" y="4663040"/>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endParaRPr lang="sv-SE" sz="800" kern="1200"/>
        </a:p>
      </dsp:txBody>
      <dsp:txXfrm>
        <a:off x="5807875" y="4678277"/>
        <a:ext cx="2033275" cy="489763"/>
      </dsp:txXfrm>
    </dsp:sp>
    <dsp:sp modelId="{9ABD60AD-90B3-4D14-BBBE-F373C00B60B7}">
      <dsp:nvSpPr>
        <dsp:cNvPr id="0" name=""/>
        <dsp:cNvSpPr/>
      </dsp:nvSpPr>
      <dsp:spPr>
        <a:xfrm>
          <a:off x="5783578" y="4074565"/>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Riskbedömning</a:t>
          </a:r>
          <a:endParaRPr lang="sv-SE" sz="800" kern="1200"/>
        </a:p>
      </dsp:txBody>
      <dsp:txXfrm>
        <a:off x="5798815" y="4089802"/>
        <a:ext cx="2033275" cy="489763"/>
      </dsp:txXfrm>
    </dsp:sp>
    <dsp:sp modelId="{E48A79C3-F65D-487C-880F-072B460EC120}">
      <dsp:nvSpPr>
        <dsp:cNvPr id="0" name=""/>
        <dsp:cNvSpPr/>
      </dsp:nvSpPr>
      <dsp:spPr>
        <a:xfrm>
          <a:off x="5801698" y="3476529"/>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noProof="0">
              <a:solidFill>
                <a:schemeClr val="bg2"/>
              </a:solidFill>
              <a:latin typeface="Open Sans SemiBold" panose="020B0706030804020204" pitchFamily="34" charset="0"/>
              <a:ea typeface="Open Sans SemiBold" panose="020B0706030804020204" pitchFamily="34" charset="0"/>
              <a:cs typeface="Open Sans SemiBold" panose="020B0706030804020204" pitchFamily="34" charset="0"/>
            </a:rPr>
            <a:t>Tillräcklig, entydig och verifierbar information om att produkterna uppfyller kraven i förordningen </a:t>
          </a:r>
          <a:endParaRPr lang="sv-SE" sz="800" kern="1200">
            <a:solidFill>
              <a:schemeClr val="bg2"/>
            </a:solidFill>
          </a:endParaRPr>
        </a:p>
      </dsp:txBody>
      <dsp:txXfrm>
        <a:off x="5816935" y="3491766"/>
        <a:ext cx="2033275" cy="489763"/>
      </dsp:txXfrm>
    </dsp:sp>
    <dsp:sp modelId="{232F76A9-44CA-4687-8529-A8594E57A510}">
      <dsp:nvSpPr>
        <dsp:cNvPr id="0" name=""/>
        <dsp:cNvSpPr/>
      </dsp:nvSpPr>
      <dsp:spPr>
        <a:xfrm>
          <a:off x="5828857" y="2888054"/>
          <a:ext cx="2063749" cy="520237"/>
        </a:xfrm>
        <a:prstGeom prst="roundRect">
          <a:avLst>
            <a:gd name="adj" fmla="val 10000"/>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sv-SE" sz="800" b="0" kern="120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sz="800" b="0" u="sng" kern="1200">
              <a:latin typeface="Open Sans SemiBold" panose="020B0706030804020204" pitchFamily="34" charset="0"/>
              <a:ea typeface="Open Sans SemiBold" panose="020B0706030804020204" pitchFamily="34" charset="0"/>
              <a:cs typeface="Open Sans SemiBold" panose="020B0706030804020204" pitchFamily="34" charset="0"/>
            </a:rPr>
            <a:t>levererats till</a:t>
          </a:r>
        </a:p>
      </dsp:txBody>
      <dsp:txXfrm>
        <a:off x="5844094" y="2903291"/>
        <a:ext cx="2033275" cy="489763"/>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BEB58402-FE16-45B8-98EF-5ED577AC16B3}">
      <dsp:nvSpPr>
        <dsp:cNvPr id="0" name=""/>
        <dsp:cNvSpPr/>
      </dsp:nvSpPr>
      <dsp:spPr>
        <a:xfrm>
          <a:off x="188952" y="2149"/>
          <a:ext cx="3168029" cy="19008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t>För avverkningar som påbörjas 30 december eller senare skall ni göra en anmälan eller s.k. förklaring om tillbörlig aktsamhet till EU:s system </a:t>
          </a:r>
          <a:r>
            <a:rPr lang="sv-SE" sz="1100" kern="1200" err="1"/>
            <a:t>Traces</a:t>
          </a:r>
          <a:r>
            <a:rPr lang="sv-SE" sz="1100" kern="1200"/>
            <a:t>. För avverkningar som pågår den 30 december behövs enligt Skogsstyrelsen ingen retroaktiv anmälan göras. Kom ihåg att kravet på anmälan avser alla huggningsformer – inte bara slutavverkningar</a:t>
          </a:r>
        </a:p>
      </dsp:txBody>
      <dsp:txXfrm>
        <a:off x="188952" y="2149"/>
        <a:ext cx="3168029" cy="1900817"/>
      </dsp:txXfrm>
    </dsp:sp>
    <dsp:sp modelId="{143A2641-0D1A-4504-B29B-C380834E30F6}">
      <dsp:nvSpPr>
        <dsp:cNvPr id="0" name=""/>
        <dsp:cNvSpPr/>
      </dsp:nvSpPr>
      <dsp:spPr>
        <a:xfrm>
          <a:off x="3673785" y="2149"/>
          <a:ext cx="3168029" cy="19008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t>Lägg in referens och verifikationsnummer i Virkesordern i VIOL</a:t>
          </a:r>
        </a:p>
      </dsp:txBody>
      <dsp:txXfrm>
        <a:off x="3673785" y="2149"/>
        <a:ext cx="3168029" cy="1900817"/>
      </dsp:txXfrm>
    </dsp:sp>
    <dsp:sp modelId="{BD9D9D5C-8304-41BF-97E9-975DAA41E159}">
      <dsp:nvSpPr>
        <dsp:cNvPr id="0" name=""/>
        <dsp:cNvSpPr/>
      </dsp:nvSpPr>
      <dsp:spPr>
        <a:xfrm>
          <a:off x="7158617" y="2149"/>
          <a:ext cx="3168029" cy="19008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ea typeface="Times New Roman" panose="02020603050405020304" pitchFamily="18" charset="0"/>
              <a:cs typeface="Times New Roman" panose="02020603050405020304" pitchFamily="18" charset="0"/>
            </a:rPr>
            <a:t>Se till att i era leverantörsavtal arbeta in en skrivning om leverantörens ansvar att säkerställa goda rutiner för att svara upp mot Avskogningsförordningen</a:t>
          </a:r>
          <a:endParaRPr lang="sv-SE" sz="1100" kern="1200"/>
        </a:p>
      </dsp:txBody>
      <dsp:txXfrm>
        <a:off x="7158617" y="2149"/>
        <a:ext cx="3168029" cy="1900817"/>
      </dsp:txXfrm>
    </dsp:sp>
    <dsp:sp modelId="{376D6A2B-3275-43C8-AEC2-D13608B90623}">
      <dsp:nvSpPr>
        <dsp:cNvPr id="0" name=""/>
        <dsp:cNvSpPr/>
      </dsp:nvSpPr>
      <dsp:spPr>
        <a:xfrm>
          <a:off x="1931368" y="2219770"/>
          <a:ext cx="3168029" cy="19008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t>För försäljning av färdiga produkter baserad på träråvara krävs ytterligare en anmälan. Vi hoppas att tydlig info om vilken modell som får tillämpas kommer snart.</a:t>
          </a:r>
        </a:p>
      </dsp:txBody>
      <dsp:txXfrm>
        <a:off x="1931368" y="2219770"/>
        <a:ext cx="3168029" cy="1900817"/>
      </dsp:txXfrm>
    </dsp:sp>
    <dsp:sp modelId="{5F801FF0-0AC0-4D4E-B314-215D8430FB0D}">
      <dsp:nvSpPr>
        <dsp:cNvPr id="0" name=""/>
        <dsp:cNvSpPr/>
      </dsp:nvSpPr>
      <dsp:spPr>
        <a:xfrm>
          <a:off x="5416201" y="2219770"/>
          <a:ext cx="3168029" cy="1900817"/>
        </a:xfrm>
        <a:prstGeom prst="rect">
          <a:avLst/>
        </a:prstGeom>
        <a:solidFill>
          <a:schemeClr val="accent1">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41910" tIns="41910" rIns="41910" bIns="41910" numCol="1" spcCol="1270" anchor="ctr" anchorCtr="0">
          <a:noAutofit/>
        </a:bodyPr>
        <a:lstStyle/>
        <a:p>
          <a:pPr marL="0" lvl="0" indent="0" algn="ctr" defTabSz="488950">
            <a:lnSpc>
              <a:spcPct val="90000"/>
            </a:lnSpc>
            <a:spcBef>
              <a:spcPct val="0"/>
            </a:spcBef>
            <a:spcAft>
              <a:spcPct val="35000"/>
            </a:spcAft>
            <a:buNone/>
          </a:pPr>
          <a:r>
            <a:rPr lang="sv-SE" sz="1100" kern="1200"/>
            <a:t>Se till att ni har koordinatdata eller en </a:t>
          </a:r>
          <a:r>
            <a:rPr lang="sv-SE" sz="1100" kern="1200" err="1"/>
            <a:t>kartfil</a:t>
          </a:r>
          <a:r>
            <a:rPr lang="sv-SE" sz="1100" kern="1200"/>
            <a:t> sparad för all avverkning som utförs. Var beredd på att dela den med er kund på förfrågan. Spara all information som ingår i anmälan till EU samt vem ni köpt och sålt era produkter till i 5 år.</a:t>
          </a:r>
        </a:p>
      </dsp:txBody>
      <dsp:txXfrm>
        <a:off x="5416201" y="2219770"/>
        <a:ext cx="3168029" cy="1900817"/>
      </dsp:txXfrm>
    </dsp:sp>
  </dsp:spTree>
</dsp:drawing>
</file>

<file path=ppt/diagrams/layout1.xml><?xml version="1.0" encoding="utf-8"?>
<dgm:layoutDef xmlns:dgm="http://schemas.openxmlformats.org/drawingml/2006/diagram" xmlns:a="http://schemas.openxmlformats.org/drawingml/2006/main" uniqueId="urn:microsoft.com/office/officeart/2008/layout/AlternatingHexagons">
  <dgm:title val=""/>
  <dgm:desc val=""/>
  <dgm:catLst>
    <dgm:cat type="list" pri="15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40" srcId="0" destId="10" srcOrd="0" destOrd="0"/>
        <dgm:cxn modelId="12" srcId="10" destId="11" srcOrd="0" destOrd="0"/>
        <dgm:cxn modelId="50" srcId="0" destId="20" srcOrd="1" destOrd="0"/>
        <dgm:cxn modelId="22" srcId="20" destId="21" srcOrd="0" destOrd="0"/>
        <dgm:cxn modelId="60" srcId="0" destId="30" srcOrd="1" destOrd="0"/>
        <dgm:cxn modelId="32" srcId="30" destId="31" srcOrd="0" destOrd="0"/>
      </dgm:cxnLst>
      <dgm:bg/>
      <dgm:whole/>
    </dgm:dataModel>
  </dgm:sampData>
  <dgm:styleData>
    <dgm:dataModel>
      <dgm:ptLst>
        <dgm:pt modelId="0" type="doc"/>
        <dgm:pt modelId="10">
          <dgm:prSet phldr="1"/>
        </dgm:pt>
        <dgm:pt modelId="20">
          <dgm:prSet phldr="1"/>
        </dgm:pt>
      </dgm:ptLst>
      <dgm:cxnLst>
        <dgm:cxn modelId="60" srcId="0" destId="10" srcOrd="0" destOrd="0"/>
        <dgm:cxn modelId="70" srcId="0" destId="20" srcOrd="1" destOrd="0"/>
      </dgm:cxnLst>
      <dgm:bg/>
      <dgm:whole/>
    </dgm:dataModel>
  </dgm:styleData>
  <dgm:clrData>
    <dgm:dataModel>
      <dgm:ptLst>
        <dgm:pt modelId="0" type="doc"/>
        <dgm:pt modelId="10">
          <dgm:prSet phldr="1"/>
        </dgm:pt>
        <dgm:pt modelId="20">
          <dgm:prSet phldr="1"/>
        </dgm:pt>
        <dgm:pt modelId="30">
          <dgm:prSet phldr="1"/>
        </dgm:pt>
        <dgm:pt modelId="40">
          <dgm:prSet phldr="1"/>
        </dgm:pt>
      </dgm:ptLst>
      <dgm:cxnLst>
        <dgm:cxn modelId="60" srcId="0" destId="10" srcOrd="0" destOrd="0"/>
        <dgm:cxn modelId="70" srcId="0" destId="20" srcOrd="1" destOrd="0"/>
        <dgm:cxn modelId="80" srcId="0" destId="30" srcOrd="2" destOrd="0"/>
        <dgm:cxn modelId="90" srcId="0" destId="40" srcOrd="3" destOrd="0"/>
      </dgm:cxnLst>
      <dgm:bg/>
      <dgm:whole/>
    </dgm:dataModel>
  </dgm:clrData>
  <dgm:layoutNode name="Name0">
    <dgm:varLst>
      <dgm:chMax/>
      <dgm:chPref/>
      <dgm:dir/>
      <dgm:animLvl val="lvl"/>
    </dgm:varLst>
    <dgm:alg type="lin">
      <dgm:param type="linDir" val="fromT"/>
    </dgm:alg>
    <dgm:shape xmlns:r="http://schemas.openxmlformats.org/officeDocument/2006/relationships" r:blip="">
      <dgm:adjLst/>
    </dgm:shape>
    <dgm:constrLst>
      <dgm:constr type="primFontSz" for="des" forName="Parent1" val="65"/>
      <dgm:constr type="primFontSz" for="des" forName="Childtext1" refType="primFontSz" refFor="des" refForName="Parent1" op="lte"/>
      <dgm:constr type="w" for="ch" forName="composite" refType="w"/>
      <dgm:constr type="h" for="ch" forName="composite" refType="h"/>
      <dgm:constr type="h" for="ch" forName="spaceBetweenRectangles" refType="w" refFor="ch" refForName="composite" fact="-0.042"/>
      <dgm:constr type="sp" refType="h" refFor="ch" refForName="composite" op="equ" fact="0.1"/>
    </dgm:constrLst>
    <dgm:forEach name="nodesForEach" axis="ch" ptType="node">
      <dgm:layoutNode name="composite">
        <dgm:alg type="composite">
          <dgm:param type="ar" val="3.6"/>
        </dgm:alg>
        <dgm:shape xmlns:r="http://schemas.openxmlformats.org/officeDocument/2006/relationships" r:blip="">
          <dgm:adjLst/>
        </dgm:shape>
        <dgm:choose name="Name1">
          <dgm:if name="Name2" func="var" arg="dir" op="equ" val="norm">
            <dgm:choose name="Name3">
              <dgm:if name="Name4" axis="self" ptType="node" func="posOdd" op="equ" val="1">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dgm:constr type="h" for="ch" forName="BalanceSpacing" refType="h" fact="0.1"/>
                  <dgm:constr type="l" for="ch" forName="BalanceSpacing1" refType="w" fact="0.69"/>
                  <dgm:constr type="t" for="ch" forName="BalanceSpacing1" refType="h" fact="0.2"/>
                  <dgm:constr type="w" for="ch" forName="BalanceSpacing1" refType="w" fact="0.31"/>
                  <dgm:constr type="h" for="ch" forName="BalanceSpacing1" refType="h" fact="0.6"/>
                </dgm:constrLst>
              </dgm:if>
              <dgm:else name="Name5">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 type="l" for="ch" forName="BalanceSpacing1" refType="w" fact="0"/>
                  <dgm:constr type="t" for="ch" forName="BalanceSpacing1" refType="h" fact="0.2"/>
                  <dgm:constr type="w" for="ch" forName="BalanceSpacing1" refType="w" fact="0.3"/>
                  <dgm:constr type="h" for="ch" forName="BalanceSpacing1" refType="h" fact="0.6"/>
                </dgm:constrLst>
              </dgm:else>
            </dgm:choose>
          </dgm:if>
          <dgm:else name="Name6">
            <dgm:choose name="Name7">
              <dgm:if name="Name8" axis="self" ptType="node" func="posOdd" op="equ" val="1">
                <dgm:constrLst>
                  <dgm:constr type="l" for="ch" forName="Accent1" refType="w" fact="0.571"/>
                  <dgm:constr type="t" for="ch" forName="Accent1" refType="h" fact="0"/>
                  <dgm:constr type="h" for="ch" forName="Accent1" refType="h"/>
                  <dgm:constr type="w" for="ch" forName="Accent1" refType="h" fact="0.87"/>
                  <dgm:constr type="l" for="ch" forName="Accent1Text" refType="w" fact="0.571"/>
                  <dgm:constr type="t" for="ch" forName="Accent1Text" refType="h" fact="0"/>
                  <dgm:constr type="h" for="ch" forName="Accent1Text" refType="h"/>
                  <dgm:constr type="w" for="ch" forName="Accent1Text" refType="h" fact="0.87"/>
                  <dgm:constr type="l" for="ch" forName="Parent1" refType="w" fact="0.31"/>
                  <dgm:constr type="t" for="ch" forName="Parent1" refType="h" fact="0"/>
                  <dgm:constr type="h" for="ch" forName="Parent1" refType="h"/>
                  <dgm:constr type="w" for="ch" forName="Parent1" refType="h" fact="0.87"/>
                  <dgm:constr type="l" for="ch" forName="Childtext1" refType="w" fact="0"/>
                  <dgm:constr type="t" for="ch" forName="Childtext1" refType="h" fact="0.2"/>
                  <dgm:constr type="w" for="ch" forName="Childtext1" refType="w" fact="0.3"/>
                  <dgm:constr type="h" for="ch" forName="Childtext1" refType="h" fact="0.6"/>
                  <dgm:constr type="l" for="ch" forName="BalanceSpacing" refType="w" fact="0.82"/>
                  <dgm:constr type="t" for="ch" forName="BalanceSpacing" refType="h" fact="0"/>
                  <dgm:constr type="w" for="ch" forName="BalanceSpacing" refType="w" fact="0.18"/>
                  <dgm:constr type="h" for="ch" forName="BalanceSpacing" refType="h"/>
                </dgm:constrLst>
              </dgm:if>
              <dgm:else name="Name9">
                <dgm:constrLst>
                  <dgm:constr type="l" for="ch" forName="Accent1" refType="w" fact="0.18"/>
                  <dgm:constr type="t" for="ch" forName="Accent1" refType="h" fact="0"/>
                  <dgm:constr type="h" for="ch" forName="Accent1" refType="h"/>
                  <dgm:constr type="w" for="ch" forName="Accent1" refType="h" fact="0.87"/>
                  <dgm:constr type="l" for="ch" forName="Accent1Text" refType="w" fact="0.18"/>
                  <dgm:constr type="t" for="ch" forName="Accent1Text" refType="h" fact="0"/>
                  <dgm:constr type="h" for="ch" forName="Accent1Text" refType="h"/>
                  <dgm:constr type="w" for="ch" forName="Accent1Text" refType="h" fact="0.87"/>
                  <dgm:constr type="l" for="ch" forName="Parent1" refType="w" fact="0.441"/>
                  <dgm:constr type="t" for="ch" forName="Parent1" refType="h" fact="0"/>
                  <dgm:constr type="h" for="ch" forName="Parent1" refType="h"/>
                  <dgm:constr type="w" for="ch" forName="Parent1" refType="h" fact="0.87"/>
                  <dgm:constr type="l" for="ch" forName="Childtext1" refType="w" fact="0.69"/>
                  <dgm:constr type="t" for="ch" forName="Childtext1" refType="h" fact="0.2"/>
                  <dgm:constr type="w" for="ch" forName="Childtext1" refType="w" fact="0.31"/>
                  <dgm:constr type="h" for="ch" forName="Childtext1" refType="h" fact="0.6"/>
                  <dgm:constr type="l" for="ch" forName="BalanceSpacing" refType="w" fact="0"/>
                  <dgm:constr type="t" for="ch" forName="BalanceSpacing" refType="h" fact="0"/>
                  <dgm:constr type="w" for="ch" forName="BalanceSpacing" refType="w" fact="0.18"/>
                  <dgm:constr type="h" for="ch" forName="BalanceSpacing" refType="h"/>
                </dgm:constrLst>
              </dgm:else>
            </dgm:choose>
          </dgm:else>
        </dgm:choose>
        <dgm:layoutNode name="Parent1" styleLbl="node1">
          <dgm:varLst>
            <dgm:chMax val="1"/>
            <dgm:chPref val="1"/>
            <dgm:bulletEnabled val="1"/>
          </dgm:varLst>
          <dgm:alg type="tx"/>
          <dgm:shape xmlns:r="http://schemas.openxmlformats.org/officeDocument/2006/relationships" rot="90" type="hexagon" r:blip="">
            <dgm:adjLst>
              <dgm:adj idx="1" val="0.25"/>
              <dgm:adj idx="2" val="1.1547"/>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hildtext1" styleLbl="revTx">
          <dgm:varLst>
            <dgm:chMax val="0"/>
            <dgm:chPref val="0"/>
            <dgm:bulletEnabled val="1"/>
          </dgm:varLst>
          <dgm:choose name="Name10">
            <dgm:if name="Name11" func="var" arg="dir" op="equ" val="norm">
              <dgm:choose name="Name12">
                <dgm:if name="Name13" axis="self" ptType="node" func="posOdd" op="equ" val="1">
                  <dgm:alg type="tx">
                    <dgm:param type="parTxLTRAlign" val="l"/>
                  </dgm:alg>
                </dgm:if>
                <dgm:else name="Name14">
                  <dgm:alg type="tx">
                    <dgm:param type="parTxLTRAlign" val="r"/>
                  </dgm:alg>
                </dgm:else>
              </dgm:choose>
            </dgm:if>
            <dgm:else name="Name15">
              <dgm:choose name="Name16">
                <dgm:if name="Name17" axis="self" ptType="node" func="posOdd" op="equ" val="1">
                  <dgm:alg type="tx">
                    <dgm:param type="parTxLTRAlign" val="r"/>
                  </dgm:alg>
                </dgm:if>
                <dgm:else name="Name18">
                  <dgm:alg type="tx">
                    <dgm:param type="parTxLTRAlign" val="l"/>
                  </dgm:alg>
                </dgm:else>
              </dgm:choose>
            </dgm:else>
          </dgm:choose>
          <dgm:shape xmlns:r="http://schemas.openxmlformats.org/officeDocument/2006/relationships" type="rect" r:blip="">
            <dgm:adjLst/>
          </dgm:shape>
          <dgm:presOf axis="des"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BalanceSpacing">
          <dgm:alg type="sp"/>
          <dgm:shape xmlns:r="http://schemas.openxmlformats.org/officeDocument/2006/relationships" r:blip="">
            <dgm:adjLst/>
          </dgm:shape>
        </dgm:layoutNode>
        <dgm:layoutNode name="BalanceSpacing1">
          <dgm:alg type="sp"/>
          <dgm:shape xmlns:r="http://schemas.openxmlformats.org/officeDocument/2006/relationships" r:blip="">
            <dgm:adjLst/>
          </dgm:shape>
        </dgm:layoutNode>
        <dgm:forEach name="Name19" axis="followSib" ptType="sibTrans" hideLastTrans="0" cnt="1">
          <dgm:layoutNode name="Accent1Text" styleLbl="node1">
            <dgm:alg type="tx"/>
            <dgm:shape xmlns:r="http://schemas.openxmlformats.org/officeDocument/2006/relationships" rot="90" type="hexagon" r:blip="">
              <dgm:adjLst>
                <dgm:adj idx="1" val="0.25"/>
                <dgm:adj idx="2" val="1.1547"/>
              </dgm:adjLst>
            </dgm:shape>
            <dgm:presOf axis="self" ptType="sibTrans"/>
            <dgm:constrLst>
              <dgm:constr type="lMarg"/>
              <dgm:constr type="rMarg"/>
              <dgm:constr type="tMarg"/>
              <dgm:constr type="bMarg"/>
            </dgm:constrLst>
            <dgm:ruleLst>
              <dgm:rule type="primFontSz" val="5" fact="NaN" max="NaN"/>
            </dgm:ruleLst>
          </dgm:layoutNode>
        </dgm:forEach>
      </dgm:layoutNode>
      <dgm:forEach name="Name2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sv-SE"/>
          </a:p>
        </p:txBody>
      </p:sp>
      <p:sp>
        <p:nvSpPr>
          <p:cNvPr id="3" name="Platshållare fö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6AEA8D5-88E4-44E1-96FC-C7ED5DADFCC2}" type="datetimeFigureOut">
              <a:rPr lang="sv-SE" smtClean="0"/>
              <a:t>2024-08-20</a:t>
            </a:fld>
            <a:endParaRPr lang="sv-SE"/>
          </a:p>
        </p:txBody>
      </p:sp>
      <p:sp>
        <p:nvSpPr>
          <p:cNvPr id="4" name="Platshållare för bildobjekt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sv-SE"/>
          </a:p>
        </p:txBody>
      </p:sp>
      <p:sp>
        <p:nvSpPr>
          <p:cNvPr id="5" name="Platshållare för anteckninga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6" name="Platshållare för sidfo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sv-SE"/>
          </a:p>
        </p:txBody>
      </p:sp>
      <p:sp>
        <p:nvSpPr>
          <p:cNvPr id="7" name="Platshållare för bild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1BC451F-A721-47A0-8E80-B63395185347}" type="slidenum">
              <a:rPr lang="sv-SE" smtClean="0"/>
              <a:t>‹#›</a:t>
            </a:fld>
            <a:endParaRPr lang="sv-SE"/>
          </a:p>
        </p:txBody>
      </p:sp>
    </p:spTree>
    <p:extLst>
      <p:ext uri="{BB962C8B-B14F-4D97-AF65-F5344CB8AC3E}">
        <p14:creationId xmlns:p14="http://schemas.microsoft.com/office/powerpoint/2010/main" val="398972955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1BC451F-A721-47A0-8E80-B63395185347}" type="slidenum">
              <a:rPr lang="sv-SE" smtClean="0"/>
              <a:t>2</a:t>
            </a:fld>
            <a:endParaRPr lang="sv-SE"/>
          </a:p>
        </p:txBody>
      </p:sp>
    </p:spTree>
    <p:extLst>
      <p:ext uri="{BB962C8B-B14F-4D97-AF65-F5344CB8AC3E}">
        <p14:creationId xmlns:p14="http://schemas.microsoft.com/office/powerpoint/2010/main" val="9343662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CC617-DA15-465C-8D0D-8F8F6616F0C0}"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7940243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CC617-DA15-465C-8D0D-8F8F6616F0C0}"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12224636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CC617-DA15-465C-8D0D-8F8F6616F0C0}"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110824205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FDA2115C-365C-414B-ABC3-EE0C35BE75AF}"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35221125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fld id="{41BC451F-A721-47A0-8E80-B63395185347}" type="slidenum">
              <a:rPr lang="sv-SE" smtClean="0"/>
              <a:t>20</a:t>
            </a:fld>
            <a:endParaRPr lang="sv-SE"/>
          </a:p>
        </p:txBody>
      </p:sp>
    </p:spTree>
    <p:extLst>
      <p:ext uri="{BB962C8B-B14F-4D97-AF65-F5344CB8AC3E}">
        <p14:creationId xmlns:p14="http://schemas.microsoft.com/office/powerpoint/2010/main" val="218505708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69556C0-594A-4472-BD28-FE6FF7CE1BC7}"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47287814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93CC617-DA15-465C-8D0D-8F8F6616F0C0}" type="slidenum">
              <a:rPr kumimoji="0" lang="sv-SE" sz="1200" b="0" i="0" u="none" strike="noStrike" kern="1200" cap="none" spc="0" normalizeH="0" baseline="0" noProof="0" smtClean="0">
                <a:ln>
                  <a:noFill/>
                </a:ln>
                <a:solidFill>
                  <a:prstClr val="black"/>
                </a:solidFill>
                <a:effectLst/>
                <a:uLnTx/>
                <a:uFillTx/>
                <a:latin typeface="Aptos" panose="0211000402020202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9</a:t>
            </a:fld>
            <a:endParaRPr kumimoji="0" lang="sv-SE" sz="1200" b="0" i="0" u="none" strike="noStrike" kern="1200" cap="none" spc="0" normalizeH="0" baseline="0" noProof="0">
              <a:ln>
                <a:noFill/>
              </a:ln>
              <a:solidFill>
                <a:prstClr val="black"/>
              </a:solidFill>
              <a:effectLst/>
              <a:uLnTx/>
              <a:uFillTx/>
              <a:latin typeface="Aptos" panose="02110004020202020204"/>
              <a:ea typeface="+mn-ea"/>
              <a:cs typeface="+mn-cs"/>
            </a:endParaRPr>
          </a:p>
        </p:txBody>
      </p:sp>
    </p:spTree>
    <p:extLst>
      <p:ext uri="{BB962C8B-B14F-4D97-AF65-F5344CB8AC3E}">
        <p14:creationId xmlns:p14="http://schemas.microsoft.com/office/powerpoint/2010/main" val="251516762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6.png"/></Relationships>
</file>

<file path=ppt/slideLayouts/_rels/slideLayout1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3.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1.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9.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14.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7.jpe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18.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0.jpeg"/><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2.jpe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4.xml.rels><?xml version="1.0" encoding="UTF-8" standalone="yes"?>
<Relationships xmlns="http://schemas.openxmlformats.org/package/2006/relationships"><Relationship Id="rId3" Type="http://schemas.microsoft.com/office/2007/relationships/hdphoto" Target="../media/hdphoto2.wdp"/><Relationship Id="rId2" Type="http://schemas.openxmlformats.org/officeDocument/2006/relationships/image" Target="../media/image24.pn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5.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6.jpeg"/><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7.jpeg"/><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8.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29.jpe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0.jpe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1.jpe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9.png"/><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10.png"/><Relationship Id="rId1" Type="http://schemas.openxmlformats.org/officeDocument/2006/relationships/slideMaster" Target="../slideMasters/slideMaster2.xml"/><Relationship Id="rId4" Type="http://schemas.openxmlformats.org/officeDocument/2006/relationships/image" Target="../media/image34.png"/></Relationships>
</file>

<file path=ppt/slideLayouts/_rels/slideLayout55.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5.jpeg"/><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6.jpeg"/><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7.jpeg"/><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8.jpeg"/><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21.png"/><Relationship Id="rId2" Type="http://schemas.openxmlformats.org/officeDocument/2006/relationships/image" Target="../media/image39.jpeg"/><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40.png"/></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0.png"/><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1.pn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65.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41.png"/><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6.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6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2.xml"/><Relationship Id="rId4" Type="http://schemas.openxmlformats.org/officeDocument/2006/relationships/image" Target="../media/image32.png"/></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2.png"/><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image" Target="../media/image15.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3.jpeg"/><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4.jpeg"/><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42.jpeg"/><Relationship Id="rId1" Type="http://schemas.openxmlformats.org/officeDocument/2006/relationships/slideMaster" Target="../slideMasters/slideMaster2.xml"/><Relationship Id="rId4" Type="http://schemas.openxmlformats.org/officeDocument/2006/relationships/image" Target="../media/image4.png"/></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blank" preserve="1">
  <p:cSld name="Förstasida endast logo">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844745CF-7C36-3243-B9C6-AD5D1C2F5B1D}"/>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1" y="-1"/>
            <a:ext cx="12263718" cy="6858001"/>
          </a:xfrm>
          <a:prstGeom prst="rect">
            <a:avLst/>
          </a:prstGeom>
        </p:spPr>
      </p:pic>
      <p:pic>
        <p:nvPicPr>
          <p:cNvPr id="7" name="Bildobjekt 6" descr="En bild som visar ritning&#10;&#10;Automatiskt genererad beskrivning">
            <a:extLst>
              <a:ext uri="{FF2B5EF4-FFF2-40B4-BE49-F238E27FC236}">
                <a16:creationId xmlns:a16="http://schemas.microsoft.com/office/drawing/2014/main" id="{43E5D5CC-697F-6844-939F-0A5A8BC965B0}"/>
              </a:ext>
            </a:extLst>
          </p:cNvPr>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1841326" y="2280912"/>
            <a:ext cx="8509348" cy="1994378"/>
          </a:xfrm>
          <a:prstGeom prst="rect">
            <a:avLst/>
          </a:prstGeom>
          <a:effectLst>
            <a:outerShdw blurRad="50800" dist="38100" dir="2700000" algn="tl" rotWithShape="0">
              <a:prstClr val="black">
                <a:alpha val="40000"/>
              </a:prstClr>
            </a:outerShdw>
          </a:effectLst>
        </p:spPr>
      </p:pic>
    </p:spTree>
    <p:extLst>
      <p:ext uri="{BB962C8B-B14F-4D97-AF65-F5344CB8AC3E}">
        <p14:creationId xmlns:p14="http://schemas.microsoft.com/office/powerpoint/2010/main" val="1996238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1_Rubriksida">
    <p:bg>
      <p:bgPr>
        <a:solidFill>
          <a:srgbClr val="DFDCD8"/>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62DDCE43-E9D6-4E95-969A-4B26AC980785}"/>
              </a:ext>
            </a:extLst>
          </p:cNvPr>
          <p:cNvSpPr>
            <a:spLocks noGrp="1"/>
          </p:cNvSpPr>
          <p:nvPr>
            <p:ph type="title" hasCustomPrompt="1"/>
          </p:nvPr>
        </p:nvSpPr>
        <p:spPr>
          <a:xfrm>
            <a:off x="838200" y="2595369"/>
            <a:ext cx="8452756" cy="1325563"/>
          </a:xfrm>
          <a:effectLst/>
        </p:spPr>
        <p:txBody>
          <a:bodyPr anchor="t"/>
          <a:lstStyle>
            <a:lvl1pPr>
              <a:defRPr b="1" i="0" spc="-80" baseline="0">
                <a:solidFill>
                  <a:schemeClr val="tx1"/>
                </a:solidFill>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3" name="Platshållare för text 17">
            <a:extLst>
              <a:ext uri="{FF2B5EF4-FFF2-40B4-BE49-F238E27FC236}">
                <a16:creationId xmlns:a16="http://schemas.microsoft.com/office/drawing/2014/main" id="{2E38C886-4B40-2542-32E5-4776540AE954}"/>
              </a:ext>
            </a:extLst>
          </p:cNvPr>
          <p:cNvSpPr>
            <a:spLocks noGrp="1"/>
          </p:cNvSpPr>
          <p:nvPr>
            <p:ph type="body" sz="quarter" idx="10" hasCustomPrompt="1"/>
          </p:nvPr>
        </p:nvSpPr>
        <p:spPr>
          <a:xfrm>
            <a:off x="838199" y="4117068"/>
            <a:ext cx="8452757" cy="1559990"/>
          </a:xfrm>
          <a:effectLst/>
        </p:spPr>
        <p:txBody>
          <a:bodyPr/>
          <a:lstStyle>
            <a:lvl1pPr>
              <a:buFontTx/>
              <a:buNone/>
              <a:defRPr sz="2800">
                <a:solidFill>
                  <a:schemeClr val="tx1"/>
                </a:solidFill>
                <a:effectLst/>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
        <p:nvSpPr>
          <p:cNvPr id="4" name="Platshållare för text 5">
            <a:extLst>
              <a:ext uri="{FF2B5EF4-FFF2-40B4-BE49-F238E27FC236}">
                <a16:creationId xmlns:a16="http://schemas.microsoft.com/office/drawing/2014/main" id="{31B48824-5CAD-8A12-19E7-9FEA65D2320D}"/>
              </a:ext>
            </a:extLst>
          </p:cNvPr>
          <p:cNvSpPr>
            <a:spLocks noGrp="1"/>
          </p:cNvSpPr>
          <p:nvPr>
            <p:ph type="body" sz="quarter" idx="11" hasCustomPrompt="1"/>
          </p:nvPr>
        </p:nvSpPr>
        <p:spPr>
          <a:xfrm>
            <a:off x="838200" y="5693277"/>
            <a:ext cx="4634852" cy="577850"/>
          </a:xfrm>
          <a:effectLst/>
        </p:spPr>
        <p:txBody>
          <a:bodyPr>
            <a:normAutofit/>
          </a:bodyPr>
          <a:lstStyle>
            <a:lvl1pPr marL="0" indent="0">
              <a:buFontTx/>
              <a:buNone/>
              <a:defRPr/>
            </a:lvl1pPr>
            <a:lvl5pPr marL="0" indent="0" algn="l">
              <a:buNone/>
              <a:defRPr sz="1600">
                <a:solidFill>
                  <a:schemeClr val="tx1"/>
                </a:solidFill>
                <a:effectLst/>
                <a:latin typeface="Noto Serif" panose="02020600060500020200" pitchFamily="18" charset="0"/>
                <a:ea typeface="Noto Serif" panose="02020600060500020200" pitchFamily="18" charset="0"/>
                <a:cs typeface="Noto Serif" panose="02020600060500020200" pitchFamily="18" charset="0"/>
              </a:defRPr>
            </a:lvl5pPr>
          </a:lstStyle>
          <a:p>
            <a:pPr lvl="4"/>
            <a:r>
              <a:rPr lang="sv-SE">
                <a:latin typeface="Noto Serif" panose="02020600060500020200" pitchFamily="18" charset="0"/>
                <a:ea typeface="Noto Serif" panose="02020600060500020200" pitchFamily="18" charset="0"/>
                <a:cs typeface="Noto Serif" panose="02020600060500020200" pitchFamily="18" charset="0"/>
              </a:rPr>
              <a:t>2024-XX-XX</a:t>
            </a:r>
            <a:endParaRPr lang="sv-SE"/>
          </a:p>
        </p:txBody>
      </p:sp>
      <p:pic>
        <p:nvPicPr>
          <p:cNvPr id="5" name="Bildobjekt 4">
            <a:extLst>
              <a:ext uri="{FF2B5EF4-FFF2-40B4-BE49-F238E27FC236}">
                <a16:creationId xmlns:a16="http://schemas.microsoft.com/office/drawing/2014/main" id="{300D55C3-1305-E9CC-C6FD-35EBB44D11B9}"/>
              </a:ext>
            </a:extLst>
          </p:cNvPr>
          <p:cNvPicPr>
            <a:picLocks noChangeAspect="1"/>
          </p:cNvPicPr>
          <p:nvPr userDrawn="1"/>
        </p:nvPicPr>
        <p:blipFill>
          <a:blip r:embed="rId2"/>
          <a:srcRect/>
          <a:stretch/>
        </p:blipFill>
        <p:spPr>
          <a:xfrm>
            <a:off x="11353800" y="310256"/>
            <a:ext cx="532355" cy="525617"/>
          </a:xfrm>
          <a:prstGeom prst="rect">
            <a:avLst/>
          </a:prstGeom>
        </p:spPr>
      </p:pic>
    </p:spTree>
    <p:extLst>
      <p:ext uri="{BB962C8B-B14F-4D97-AF65-F5344CB8AC3E}">
        <p14:creationId xmlns:p14="http://schemas.microsoft.com/office/powerpoint/2010/main" val="1489764921"/>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5_Rubrik och punktlista 2 kolumn">
    <p:bg>
      <p:bgPr>
        <a:solidFill>
          <a:srgbClr val="DFDCD8"/>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50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4" name="Platshållare för innehåll 2">
            <a:extLst>
              <a:ext uri="{FF2B5EF4-FFF2-40B4-BE49-F238E27FC236}">
                <a16:creationId xmlns:a16="http://schemas.microsoft.com/office/drawing/2014/main" id="{429490CA-7327-04C5-91F4-390AD0B90BFC}"/>
              </a:ext>
            </a:extLst>
          </p:cNvPr>
          <p:cNvSpPr>
            <a:spLocks noGrp="1"/>
          </p:cNvSpPr>
          <p:nvPr>
            <p:ph idx="10"/>
          </p:nvPr>
        </p:nvSpPr>
        <p:spPr>
          <a:xfrm>
            <a:off x="6053418" y="1825625"/>
            <a:ext cx="50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FFC3E393-BA9A-403E-5893-06BCE88F0FE8}"/>
              </a:ext>
            </a:extLst>
          </p:cNvPr>
          <p:cNvPicPr>
            <a:picLocks noChangeAspect="1"/>
          </p:cNvPicPr>
          <p:nvPr userDrawn="1"/>
        </p:nvPicPr>
        <p:blipFill>
          <a:blip r:embed="rId3"/>
          <a:srcRect/>
          <a:stretch/>
        </p:blipFill>
        <p:spPr>
          <a:xfrm>
            <a:off x="11353800" y="310256"/>
            <a:ext cx="532355" cy="525617"/>
          </a:xfrm>
          <a:prstGeom prst="rect">
            <a:avLst/>
          </a:prstGeom>
        </p:spPr>
      </p:pic>
      <p:sp>
        <p:nvSpPr>
          <p:cNvPr id="6" name="Rubrik 1">
            <a:extLst>
              <a:ext uri="{FF2B5EF4-FFF2-40B4-BE49-F238E27FC236}">
                <a16:creationId xmlns:a16="http://schemas.microsoft.com/office/drawing/2014/main" id="{2B703D22-3DDA-07E4-CE28-68D294B382DC}"/>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7" name="Rak koppling 6">
            <a:extLst>
              <a:ext uri="{FF2B5EF4-FFF2-40B4-BE49-F238E27FC236}">
                <a16:creationId xmlns:a16="http://schemas.microsoft.com/office/drawing/2014/main" id="{932D1489-2176-E518-EF6B-3FF3EF8D8D6C}"/>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1318767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6_Rubrik och punktlista 3 kolumn">
    <p:bg>
      <p:bgPr>
        <a:solidFill>
          <a:srgbClr val="DFDCD8"/>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4" name="Platshållare för innehåll 2">
            <a:extLst>
              <a:ext uri="{FF2B5EF4-FFF2-40B4-BE49-F238E27FC236}">
                <a16:creationId xmlns:a16="http://schemas.microsoft.com/office/drawing/2014/main" id="{429490CA-7327-04C5-91F4-390AD0B90BFC}"/>
              </a:ext>
            </a:extLst>
          </p:cNvPr>
          <p:cNvSpPr>
            <a:spLocks noGrp="1"/>
          </p:cNvSpPr>
          <p:nvPr>
            <p:ph idx="10"/>
          </p:nvPr>
        </p:nvSpPr>
        <p:spPr>
          <a:xfrm>
            <a:off x="4433418"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5" name="Platshållare för innehåll 2">
            <a:extLst>
              <a:ext uri="{FF2B5EF4-FFF2-40B4-BE49-F238E27FC236}">
                <a16:creationId xmlns:a16="http://schemas.microsoft.com/office/drawing/2014/main" id="{DF7A6822-1AB2-A8CC-8386-BA88A2657954}"/>
              </a:ext>
            </a:extLst>
          </p:cNvPr>
          <p:cNvSpPr>
            <a:spLocks noGrp="1"/>
          </p:cNvSpPr>
          <p:nvPr>
            <p:ph idx="11"/>
          </p:nvPr>
        </p:nvSpPr>
        <p:spPr>
          <a:xfrm>
            <a:off x="8028636"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B0C65834-1C57-FD68-F5DE-7712ABC99C03}"/>
              </a:ext>
            </a:extLst>
          </p:cNvPr>
          <p:cNvPicPr>
            <a:picLocks noChangeAspect="1"/>
          </p:cNvPicPr>
          <p:nvPr userDrawn="1"/>
        </p:nvPicPr>
        <p:blipFill>
          <a:blip r:embed="rId3"/>
          <a:srcRect/>
          <a:stretch/>
        </p:blipFill>
        <p:spPr>
          <a:xfrm>
            <a:off x="11353800" y="310256"/>
            <a:ext cx="532355" cy="525617"/>
          </a:xfrm>
          <a:prstGeom prst="rect">
            <a:avLst/>
          </a:prstGeom>
        </p:spPr>
      </p:pic>
      <p:sp>
        <p:nvSpPr>
          <p:cNvPr id="7" name="Rubrik 1">
            <a:extLst>
              <a:ext uri="{FF2B5EF4-FFF2-40B4-BE49-F238E27FC236}">
                <a16:creationId xmlns:a16="http://schemas.microsoft.com/office/drawing/2014/main" id="{FF574B94-3659-C92B-50F0-65ABFBF1D99C}"/>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8" name="Rak koppling 7">
            <a:extLst>
              <a:ext uri="{FF2B5EF4-FFF2-40B4-BE49-F238E27FC236}">
                <a16:creationId xmlns:a16="http://schemas.microsoft.com/office/drawing/2014/main" id="{1DD04E5A-3F46-2FC4-07AB-D54915CDACE9}"/>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275021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Rubrik och brödtext">
    <p:bg>
      <p:bgPr>
        <a:solidFill>
          <a:srgbClr val="DFDCD8"/>
        </a:solidFill>
        <a:effectLst/>
      </p:bgPr>
    </p:bg>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4" name="Bildobjekt 3">
            <a:extLst>
              <a:ext uri="{FF2B5EF4-FFF2-40B4-BE49-F238E27FC236}">
                <a16:creationId xmlns:a16="http://schemas.microsoft.com/office/drawing/2014/main" id="{6F7FEA62-FC6B-C61F-92DC-ABE6ADF03967}"/>
              </a:ext>
            </a:extLst>
          </p:cNvPr>
          <p:cNvPicPr>
            <a:picLocks noChangeAspect="1"/>
          </p:cNvPicPr>
          <p:nvPr userDrawn="1"/>
        </p:nvPicPr>
        <p:blipFill>
          <a:blip r:embed="rId2"/>
          <a:srcRect/>
          <a:stretch/>
        </p:blipFill>
        <p:spPr>
          <a:xfrm>
            <a:off x="11353800" y="310256"/>
            <a:ext cx="532355" cy="525617"/>
          </a:xfrm>
          <a:prstGeom prst="rect">
            <a:avLst/>
          </a:prstGeom>
        </p:spPr>
      </p:pic>
      <p:sp>
        <p:nvSpPr>
          <p:cNvPr id="5" name="Rubrik 1">
            <a:extLst>
              <a:ext uri="{FF2B5EF4-FFF2-40B4-BE49-F238E27FC236}">
                <a16:creationId xmlns:a16="http://schemas.microsoft.com/office/drawing/2014/main" id="{E49141E0-E288-A2C2-CC90-B2DF7B76FB26}"/>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6" name="Rak koppling 5">
            <a:extLst>
              <a:ext uri="{FF2B5EF4-FFF2-40B4-BE49-F238E27FC236}">
                <a16:creationId xmlns:a16="http://schemas.microsoft.com/office/drawing/2014/main" id="{0CE8C634-D2E3-F93F-6965-4EECB927FA98}"/>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1177774"/>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30_Rubriksida lav skog">
    <p:bg>
      <p:bgPr>
        <a:solidFill>
          <a:srgbClr val="DFDCD8"/>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A96232E9-F9E3-4F98-94D0-77E4C9D89C88}"/>
              </a:ext>
            </a:extLst>
          </p:cNvPr>
          <p:cNvPicPr>
            <a:picLocks noChangeAspect="1"/>
          </p:cNvPicPr>
          <p:nvPr userDrawn="1"/>
        </p:nvPicPr>
        <p:blipFill>
          <a:blip r:embed="rId2">
            <a:alphaModFix amt="10000"/>
            <a:duotone>
              <a:prstClr val="black"/>
              <a:schemeClr val="tx2">
                <a:tint val="45000"/>
                <a:satMod val="400000"/>
              </a:schemeClr>
            </a:duotone>
          </a:blip>
          <a:srcRect/>
          <a:stretch/>
        </p:blipFill>
        <p:spPr>
          <a:xfrm>
            <a:off x="0" y="2342732"/>
            <a:ext cx="12557697" cy="4515268"/>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199" y="2595369"/>
            <a:ext cx="8520953" cy="1325563"/>
          </a:xfrm>
        </p:spPr>
        <p:txBody>
          <a:bodyPr anchor="t"/>
          <a:lstStyle>
            <a:lvl1pPr>
              <a:defRPr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3" name="Bildobjekt 2">
            <a:extLst>
              <a:ext uri="{FF2B5EF4-FFF2-40B4-BE49-F238E27FC236}">
                <a16:creationId xmlns:a16="http://schemas.microsoft.com/office/drawing/2014/main" id="{A24936C8-8506-0737-AB42-CD7D16B3FA62}"/>
              </a:ext>
            </a:extLst>
          </p:cNvPr>
          <p:cNvPicPr>
            <a:picLocks noChangeAspect="1"/>
          </p:cNvPicPr>
          <p:nvPr userDrawn="1"/>
        </p:nvPicPr>
        <p:blipFill>
          <a:blip r:embed="rId3"/>
          <a:srcRect/>
          <a:stretch/>
        </p:blipFill>
        <p:spPr>
          <a:xfrm>
            <a:off x="11353800" y="310256"/>
            <a:ext cx="532355" cy="525617"/>
          </a:xfrm>
          <a:prstGeom prst="rect">
            <a:avLst/>
          </a:prstGeom>
        </p:spPr>
      </p:pic>
    </p:spTree>
    <p:extLst>
      <p:ext uri="{BB962C8B-B14F-4D97-AF65-F5344CB8AC3E}">
        <p14:creationId xmlns:p14="http://schemas.microsoft.com/office/powerpoint/2010/main" val="1918737174"/>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1_Rubrik och punktlista lav skog">
    <p:bg>
      <p:bgPr>
        <a:solidFill>
          <a:srgbClr val="DFDCD8"/>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DC8A5453-D1D3-EF23-0D70-FB9EA7A908C3}"/>
              </a:ext>
            </a:extLst>
          </p:cNvPr>
          <p:cNvPicPr>
            <a:picLocks noChangeAspect="1"/>
          </p:cNvPicPr>
          <p:nvPr userDrawn="1"/>
        </p:nvPicPr>
        <p:blipFill>
          <a:blip r:embed="rId2">
            <a:alphaModFix amt="10000"/>
            <a:duotone>
              <a:prstClr val="black"/>
              <a:schemeClr val="tx2">
                <a:tint val="45000"/>
                <a:satMod val="400000"/>
              </a:schemeClr>
            </a:duotone>
          </a:blip>
          <a:srcRect/>
          <a:stretch/>
        </p:blipFill>
        <p:spPr>
          <a:xfrm>
            <a:off x="0" y="2387336"/>
            <a:ext cx="12557697" cy="4515268"/>
          </a:xfrm>
          <a:prstGeom prst="rect">
            <a:avLst/>
          </a:prstGeom>
        </p:spPr>
      </p:pic>
      <p:sp>
        <p:nvSpPr>
          <p:cNvPr id="5" name="Platshållare för innehåll 2">
            <a:extLst>
              <a:ext uri="{FF2B5EF4-FFF2-40B4-BE49-F238E27FC236}">
                <a16:creationId xmlns:a16="http://schemas.microsoft.com/office/drawing/2014/main" id="{3C96AB0D-CE90-4FB2-01C6-15BABE36026B}"/>
              </a:ext>
            </a:extLst>
          </p:cNvPr>
          <p:cNvSpPr>
            <a:spLocks noGrp="1"/>
          </p:cNvSpPr>
          <p:nvPr>
            <p:ph idx="1"/>
          </p:nvPr>
        </p:nvSpPr>
        <p:spPr>
          <a:xfrm>
            <a:off x="838200" y="1825625"/>
            <a:ext cx="10515600" cy="4351338"/>
          </a:xfrm>
        </p:spPr>
        <p:txBody>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7" name="Bildobjekt 6">
            <a:extLst>
              <a:ext uri="{FF2B5EF4-FFF2-40B4-BE49-F238E27FC236}">
                <a16:creationId xmlns:a16="http://schemas.microsoft.com/office/drawing/2014/main" id="{916FE10A-EBA7-BC77-BDB7-71F0987FEE8C}"/>
              </a:ext>
            </a:extLst>
          </p:cNvPr>
          <p:cNvPicPr>
            <a:picLocks noChangeAspect="1"/>
          </p:cNvPicPr>
          <p:nvPr userDrawn="1"/>
        </p:nvPicPr>
        <p:blipFill>
          <a:blip r:embed="rId4"/>
          <a:srcRect/>
          <a:stretch/>
        </p:blipFill>
        <p:spPr>
          <a:xfrm>
            <a:off x="11353800" y="310256"/>
            <a:ext cx="532355" cy="525617"/>
          </a:xfrm>
          <a:prstGeom prst="rect">
            <a:avLst/>
          </a:prstGeom>
        </p:spPr>
      </p:pic>
      <p:sp>
        <p:nvSpPr>
          <p:cNvPr id="3" name="Rubrik 1">
            <a:extLst>
              <a:ext uri="{FF2B5EF4-FFF2-40B4-BE49-F238E27FC236}">
                <a16:creationId xmlns:a16="http://schemas.microsoft.com/office/drawing/2014/main" id="{B2C961AE-B061-C384-407F-5AD4C8EEA8BC}"/>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4" name="Rak koppling 3">
            <a:extLst>
              <a:ext uri="{FF2B5EF4-FFF2-40B4-BE49-F238E27FC236}">
                <a16:creationId xmlns:a16="http://schemas.microsoft.com/office/drawing/2014/main" id="{D5671D25-A86F-D2E3-0282-476A0FED06F1}"/>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5622534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29_Rubriksida hav skog">
    <p:bg>
      <p:bgPr>
        <a:solidFill>
          <a:srgbClr val="1F6575"/>
        </a:solidFill>
        <a:effectLst/>
      </p:bgPr>
    </p:bg>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A96232E9-F9E3-4F98-94D0-77E4C9D89C88}"/>
              </a:ext>
            </a:extLst>
          </p:cNvPr>
          <p:cNvPicPr>
            <a:picLocks noGrp="1" noRot="1" noChangeAspect="1" noMove="1" noResize="1" noEditPoints="1" noAdjustHandles="1" noChangeArrowheads="1" noChangeShapeType="1" noCrop="1"/>
          </p:cNvPicPr>
          <p:nvPr userDrawn="1"/>
        </p:nvPicPr>
        <p:blipFill>
          <a:blip r:embed="rId2">
            <a:alphaModFix amt="10000"/>
          </a:blip>
          <a:srcRect/>
          <a:stretch/>
        </p:blipFill>
        <p:spPr>
          <a:xfrm>
            <a:off x="0" y="2342732"/>
            <a:ext cx="12557697" cy="4515268"/>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199" y="2595369"/>
            <a:ext cx="8520953"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2" name="Bildobjekt 1">
            <a:extLst>
              <a:ext uri="{FF2B5EF4-FFF2-40B4-BE49-F238E27FC236}">
                <a16:creationId xmlns:a16="http://schemas.microsoft.com/office/drawing/2014/main" id="{C2206D35-A8CB-35C9-7815-A03753B3D836}"/>
              </a:ext>
            </a:extLst>
          </p:cNvPr>
          <p:cNvPicPr>
            <a:picLocks noChangeAspect="1"/>
          </p:cNvPicPr>
          <p:nvPr userDrawn="1"/>
        </p:nvPicPr>
        <p:blipFill>
          <a:blip r:embed="rId3"/>
          <a:srcRect/>
          <a:stretch/>
        </p:blipFill>
        <p:spPr>
          <a:xfrm>
            <a:off x="11353800" y="310256"/>
            <a:ext cx="532355" cy="525616"/>
          </a:xfrm>
          <a:prstGeom prst="rect">
            <a:avLst/>
          </a:prstGeom>
        </p:spPr>
      </p:pic>
    </p:spTree>
    <p:extLst>
      <p:ext uri="{BB962C8B-B14F-4D97-AF65-F5344CB8AC3E}">
        <p14:creationId xmlns:p14="http://schemas.microsoft.com/office/powerpoint/2010/main" val="3238648242"/>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0_Rubrik och punktlista skog">
    <p:bg>
      <p:bgPr>
        <a:solidFill>
          <a:srgbClr val="1F6575"/>
        </a:solidFill>
        <a:effectLst/>
      </p:bgPr>
    </p:b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F3051163-59B3-0F99-6A4A-2B7CD82F4291}"/>
              </a:ext>
            </a:extLst>
          </p:cNvPr>
          <p:cNvPicPr>
            <a:picLocks noGrp="1" noRot="1" noChangeAspect="1" noMove="1" noResize="1" noEditPoints="1" noAdjustHandles="1" noChangeArrowheads="1" noChangeShapeType="1" noCrop="1"/>
          </p:cNvPicPr>
          <p:nvPr userDrawn="1"/>
        </p:nvPicPr>
        <p:blipFill>
          <a:blip r:embed="rId2">
            <a:alphaModFix amt="10000"/>
          </a:blip>
          <a:srcRect/>
          <a:stretch/>
        </p:blipFill>
        <p:spPr>
          <a:xfrm>
            <a:off x="0" y="2389454"/>
            <a:ext cx="12557697" cy="4515268"/>
          </a:xfrm>
          <a:prstGeom prst="rect">
            <a:avLst/>
          </a:prstGeom>
        </p:spPr>
      </p:pic>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0E1BA701-C146-509E-E3A3-1F9AD3FCDB60}"/>
              </a:ext>
            </a:extLst>
          </p:cNvPr>
          <p:cNvPicPr>
            <a:picLocks noChangeAspect="1"/>
          </p:cNvPicPr>
          <p:nvPr userDrawn="1"/>
        </p:nvPicPr>
        <p:blipFill>
          <a:blip r:embed="rId4"/>
          <a:srcRect/>
          <a:stretch/>
        </p:blipFill>
        <p:spPr>
          <a:xfrm>
            <a:off x="11353800" y="310256"/>
            <a:ext cx="532355" cy="525616"/>
          </a:xfrm>
          <a:prstGeom prst="rect">
            <a:avLst/>
          </a:prstGeom>
        </p:spPr>
      </p:pic>
      <p:sp>
        <p:nvSpPr>
          <p:cNvPr id="5" name="Rubrik 1">
            <a:extLst>
              <a:ext uri="{FF2B5EF4-FFF2-40B4-BE49-F238E27FC236}">
                <a16:creationId xmlns:a16="http://schemas.microsoft.com/office/drawing/2014/main" id="{BFAB8213-92B9-B163-E17F-668B6518075F}"/>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7" name="Rak koppling 6">
            <a:extLst>
              <a:ext uri="{FF2B5EF4-FFF2-40B4-BE49-F238E27FC236}">
                <a16:creationId xmlns:a16="http://schemas.microsoft.com/office/drawing/2014/main" id="{2D4B7898-55BB-9634-9B0D-A9929090FF00}"/>
              </a:ext>
            </a:extLst>
          </p:cNvPr>
          <p:cNvCxnSpPr/>
          <p:nvPr userDrawn="1"/>
        </p:nvCxnSpPr>
        <p:spPr>
          <a:xfrm>
            <a:off x="963161" y="1219200"/>
            <a:ext cx="1023349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74950609"/>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5_Rubrik och punktlista">
    <p:bg>
      <p:bgPr>
        <a:solidFill>
          <a:srgbClr val="007B4F"/>
        </a:solidFill>
        <a:effectLst/>
      </p:bgPr>
    </p:bg>
    <p:spTree>
      <p:nvGrpSpPr>
        <p:cNvPr id="1" name=""/>
        <p:cNvGrpSpPr/>
        <p:nvPr/>
      </p:nvGrpSpPr>
      <p:grpSpPr>
        <a:xfrm>
          <a:off x="0" y="0"/>
          <a:ext cx="0" cy="0"/>
          <a:chOff x="0" y="0"/>
          <a:chExt cx="0" cy="0"/>
        </a:xfrm>
      </p:grpSpPr>
      <p:pic>
        <p:nvPicPr>
          <p:cNvPr id="7" name="Bildobjekt 6">
            <a:extLst>
              <a:ext uri="{FF2B5EF4-FFF2-40B4-BE49-F238E27FC236}">
                <a16:creationId xmlns:a16="http://schemas.microsoft.com/office/drawing/2014/main" id="{FDE4C6A9-30C6-A357-0C50-F3FEDBC87DC1}"/>
              </a:ext>
            </a:extLst>
          </p:cNvPr>
          <p:cNvPicPr>
            <a:picLocks noGrp="1" noRot="1" noChangeAspect="1" noMove="1" noResize="1" noEditPoints="1" noAdjustHandles="1" noChangeArrowheads="1" noChangeShapeType="1" noCrop="1"/>
          </p:cNvPicPr>
          <p:nvPr userDrawn="1"/>
        </p:nvPicPr>
        <p:blipFill>
          <a:blip r:embed="rId2">
            <a:alphaModFix amt="15000"/>
          </a:blip>
          <a:srcRect/>
          <a:stretch/>
        </p:blipFill>
        <p:spPr>
          <a:xfrm>
            <a:off x="0" y="2383967"/>
            <a:ext cx="12556235" cy="4514742"/>
          </a:xfrm>
          <a:prstGeom prst="rect">
            <a:avLst/>
          </a:prstGeom>
        </p:spPr>
      </p:pic>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2" name="Bildobjekt 1">
            <a:extLst>
              <a:ext uri="{FF2B5EF4-FFF2-40B4-BE49-F238E27FC236}">
                <a16:creationId xmlns:a16="http://schemas.microsoft.com/office/drawing/2014/main" id="{6C91F77F-A76A-F6ED-E551-B55D7287DFF5}"/>
              </a:ext>
            </a:extLst>
          </p:cNvPr>
          <p:cNvPicPr>
            <a:picLocks noChangeAspect="1"/>
          </p:cNvPicPr>
          <p:nvPr userDrawn="1"/>
        </p:nvPicPr>
        <p:blipFill>
          <a:blip r:embed="rId4"/>
          <a:srcRect/>
          <a:stretch/>
        </p:blipFill>
        <p:spPr>
          <a:xfrm>
            <a:off x="11353800" y="310256"/>
            <a:ext cx="532355" cy="525616"/>
          </a:xfrm>
          <a:prstGeom prst="rect">
            <a:avLst/>
          </a:prstGeom>
        </p:spPr>
      </p:pic>
      <p:sp>
        <p:nvSpPr>
          <p:cNvPr id="4" name="Rubrik 1">
            <a:extLst>
              <a:ext uri="{FF2B5EF4-FFF2-40B4-BE49-F238E27FC236}">
                <a16:creationId xmlns:a16="http://schemas.microsoft.com/office/drawing/2014/main" id="{D851E2EA-F6C0-7A81-0362-4ADBD45ACEF3}"/>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6" name="Rak koppling 5">
            <a:extLst>
              <a:ext uri="{FF2B5EF4-FFF2-40B4-BE49-F238E27FC236}">
                <a16:creationId xmlns:a16="http://schemas.microsoft.com/office/drawing/2014/main" id="{52F25DC7-6031-7C84-FE00-3EBC10BF70F2}"/>
              </a:ext>
            </a:extLst>
          </p:cNvPr>
          <p:cNvCxnSpPr/>
          <p:nvPr userDrawn="1"/>
        </p:nvCxnSpPr>
        <p:spPr>
          <a:xfrm>
            <a:off x="940859" y="1219200"/>
            <a:ext cx="10233497" cy="0"/>
          </a:xfrm>
          <a:prstGeom prst="line">
            <a:avLst/>
          </a:prstGeom>
          <a:ln>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944176145"/>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18_Rubriksida skog ljung">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ED4AF340-8D86-7791-AD7D-652282C9E56E}"/>
              </a:ext>
            </a:extLst>
          </p:cNvPr>
          <p:cNvPicPr>
            <a:picLocks noGrp="1" noRot="1" noChangeAspect="1" noMove="1" noResize="1" noEditPoints="1" noAdjustHandles="1" noChangeArrowheads="1" noChangeShapeType="1" noCrop="1"/>
          </p:cNvPicPr>
          <p:nvPr userDrawn="1"/>
        </p:nvPicPr>
        <p:blipFill>
          <a:blip r:embed="rId2">
            <a:alphaModFix amt="10000"/>
          </a:blip>
          <a:srcRect/>
          <a:stretch/>
        </p:blipFill>
        <p:spPr>
          <a:xfrm>
            <a:off x="0" y="2384429"/>
            <a:ext cx="12553111" cy="4513619"/>
          </a:xfrm>
          <a:prstGeom prst="rect">
            <a:avLst/>
          </a:prstGeom>
          <a:effectLst/>
        </p:spPr>
      </p:pic>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
        <p:nvSpPr>
          <p:cNvPr id="4" name="Rubrik 1">
            <a:extLst>
              <a:ext uri="{FF2B5EF4-FFF2-40B4-BE49-F238E27FC236}">
                <a16:creationId xmlns:a16="http://schemas.microsoft.com/office/drawing/2014/main" id="{934455E8-508B-8DC3-898B-1B792FE67532}"/>
              </a:ext>
            </a:extLst>
          </p:cNvPr>
          <p:cNvSpPr>
            <a:spLocks noGrp="1"/>
          </p:cNvSpPr>
          <p:nvPr>
            <p:ph type="title" hasCustomPrompt="1"/>
          </p:nvPr>
        </p:nvSpPr>
        <p:spPr>
          <a:xfrm>
            <a:off x="838199" y="2595369"/>
            <a:ext cx="8502181" cy="1325563"/>
          </a:xfrm>
        </p:spPr>
        <p:txBody>
          <a:bodyPr anchor="t">
            <a:normAutofit/>
          </a:bodyPr>
          <a:lstStyle>
            <a:lvl1pPr>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5" name="Platshållare för text 17">
            <a:extLst>
              <a:ext uri="{FF2B5EF4-FFF2-40B4-BE49-F238E27FC236}">
                <a16:creationId xmlns:a16="http://schemas.microsoft.com/office/drawing/2014/main" id="{48251019-C2A5-34A3-3B9B-70DC858E3888}"/>
              </a:ext>
            </a:extLst>
          </p:cNvPr>
          <p:cNvSpPr>
            <a:spLocks noGrp="1"/>
          </p:cNvSpPr>
          <p:nvPr>
            <p:ph type="body" sz="quarter" idx="10" hasCustomPrompt="1"/>
          </p:nvPr>
        </p:nvSpPr>
        <p:spPr>
          <a:xfrm>
            <a:off x="838199" y="4117068"/>
            <a:ext cx="8502181"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6" name="Bildobjekt 5">
            <a:extLst>
              <a:ext uri="{FF2B5EF4-FFF2-40B4-BE49-F238E27FC236}">
                <a16:creationId xmlns:a16="http://schemas.microsoft.com/office/drawing/2014/main" id="{73CC48DB-1A12-5ADD-E46D-0ADFE64FCE11}"/>
              </a:ext>
            </a:extLst>
          </p:cNvPr>
          <p:cNvPicPr>
            <a:picLocks noChangeAspect="1"/>
          </p:cNvPicPr>
          <p:nvPr userDrawn="1"/>
        </p:nvPicPr>
        <p:blipFill>
          <a:blip r:embed="rId4"/>
          <a:srcRect/>
          <a:stretch/>
        </p:blipFill>
        <p:spPr>
          <a:xfrm>
            <a:off x="11353800" y="310256"/>
            <a:ext cx="532354" cy="525616"/>
          </a:xfrm>
          <a:prstGeom prst="rect">
            <a:avLst/>
          </a:prstGeom>
        </p:spPr>
      </p:pic>
    </p:spTree>
    <p:extLst>
      <p:ext uri="{BB962C8B-B14F-4D97-AF65-F5344CB8AC3E}">
        <p14:creationId xmlns:p14="http://schemas.microsoft.com/office/powerpoint/2010/main" val="41860762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Agenda / innehåll egen bild">
    <p:spTree>
      <p:nvGrpSpPr>
        <p:cNvPr id="1" name=""/>
        <p:cNvGrpSpPr/>
        <p:nvPr/>
      </p:nvGrpSpPr>
      <p:grpSpPr>
        <a:xfrm>
          <a:off x="0" y="0"/>
          <a:ext cx="0" cy="0"/>
          <a:chOff x="0" y="0"/>
          <a:chExt cx="0" cy="0"/>
        </a:xfrm>
      </p:grpSpPr>
      <p:sp>
        <p:nvSpPr>
          <p:cNvPr id="6" name="Platshållare för innehåll 2">
            <a:extLst>
              <a:ext uri="{FF2B5EF4-FFF2-40B4-BE49-F238E27FC236}">
                <a16:creationId xmlns:a16="http://schemas.microsoft.com/office/drawing/2014/main" id="{4A39E9E5-B32B-7F54-7607-7B6FD75672BA}"/>
              </a:ext>
            </a:extLst>
          </p:cNvPr>
          <p:cNvSpPr>
            <a:spLocks noGrp="1"/>
          </p:cNvSpPr>
          <p:nvPr>
            <p:ph idx="1"/>
          </p:nvPr>
        </p:nvSpPr>
        <p:spPr>
          <a:xfrm>
            <a:off x="5339114" y="1825625"/>
            <a:ext cx="6168196"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2" name="Platshållare för bild 6">
            <a:extLst>
              <a:ext uri="{FF2B5EF4-FFF2-40B4-BE49-F238E27FC236}">
                <a16:creationId xmlns:a16="http://schemas.microsoft.com/office/drawing/2014/main" id="{73DD4601-7ABE-4E27-23E0-021FE9022595}"/>
              </a:ext>
            </a:extLst>
          </p:cNvPr>
          <p:cNvSpPr>
            <a:spLocks noGrp="1"/>
          </p:cNvSpPr>
          <p:nvPr>
            <p:ph type="pic" sz="quarter" idx="10" hasCustomPrompt="1"/>
          </p:nvPr>
        </p:nvSpPr>
        <p:spPr>
          <a:xfrm>
            <a:off x="0" y="0"/>
            <a:ext cx="4992687" cy="6858000"/>
          </a:xfrm>
        </p:spPr>
        <p:txBody>
          <a:bodyPr/>
          <a:lstStyle>
            <a:lvl1pPr marL="0" indent="0" algn="ctr">
              <a:buNone/>
              <a:defRPr/>
            </a:lvl1pPr>
          </a:lstStyle>
          <a:p>
            <a:r>
              <a:rPr lang="sv-SE"/>
              <a:t>Infoga bild här</a:t>
            </a:r>
          </a:p>
        </p:txBody>
      </p:sp>
      <p:pic>
        <p:nvPicPr>
          <p:cNvPr id="4" name="Bildobjekt 3">
            <a:extLst>
              <a:ext uri="{FF2B5EF4-FFF2-40B4-BE49-F238E27FC236}">
                <a16:creationId xmlns:a16="http://schemas.microsoft.com/office/drawing/2014/main" id="{5F63CAFE-5548-6D8E-5E4A-AB983E50DE43}"/>
              </a:ext>
            </a:extLst>
          </p:cNvPr>
          <p:cNvPicPr>
            <a:picLocks noChangeAspect="1"/>
          </p:cNvPicPr>
          <p:nvPr userDrawn="1"/>
        </p:nvPicPr>
        <p:blipFill>
          <a:blip r:embed="rId3"/>
          <a:srcRect/>
          <a:stretch/>
        </p:blipFill>
        <p:spPr>
          <a:xfrm>
            <a:off x="11353800" y="310256"/>
            <a:ext cx="532356" cy="525617"/>
          </a:xfrm>
          <a:prstGeom prst="rect">
            <a:avLst/>
          </a:prstGeom>
        </p:spPr>
      </p:pic>
      <p:sp>
        <p:nvSpPr>
          <p:cNvPr id="5" name="Rubrik 1">
            <a:extLst>
              <a:ext uri="{FF2B5EF4-FFF2-40B4-BE49-F238E27FC236}">
                <a16:creationId xmlns:a16="http://schemas.microsoft.com/office/drawing/2014/main" id="{04BC141C-D1AC-CE26-B645-E55DFE0FB4BF}"/>
              </a:ext>
            </a:extLst>
          </p:cNvPr>
          <p:cNvSpPr>
            <a:spLocks noGrp="1"/>
          </p:cNvSpPr>
          <p:nvPr>
            <p:ph type="title"/>
          </p:nvPr>
        </p:nvSpPr>
        <p:spPr>
          <a:xfrm>
            <a:off x="5352400" y="795403"/>
            <a:ext cx="6154911" cy="895285"/>
          </a:xfrm>
        </p:spPr>
        <p:txBody>
          <a:bodyPr anchor="t"/>
          <a:lstStyle>
            <a:lvl1pPr>
              <a:lnSpc>
                <a:spcPct val="100000"/>
              </a:lnSpc>
              <a:defRPr sz="2400" b="0" i="0" cap="all" spc="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Tree>
    <p:extLst>
      <p:ext uri="{BB962C8B-B14F-4D97-AF65-F5344CB8AC3E}">
        <p14:creationId xmlns:p14="http://schemas.microsoft.com/office/powerpoint/2010/main" val="53192824"/>
      </p:ext>
    </p:extLst>
  </p:cSld>
  <p:clrMapOvr>
    <a:masterClrMapping/>
  </p:clrMapOvr>
  <p:extLst>
    <p:ext uri="{DCECCB84-F9BA-43D5-87BE-67443E8EF086}">
      <p15:sldGuideLst xmlns:p15="http://schemas.microsoft.com/office/powerpoint/2012/main">
        <p15:guide id="1" orient="horz" pos="2160">
          <p15:clr>
            <a:srgbClr val="FBAE40"/>
          </p15:clr>
        </p15:guide>
        <p15:guide id="2" pos="3137">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17_Rubriksida skog ljung">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ED4AF340-8D86-7791-AD7D-652282C9E56E}"/>
              </a:ext>
            </a:extLst>
          </p:cNvPr>
          <p:cNvPicPr>
            <a:picLocks noGrp="1" noRot="1" noChangeAspect="1" noMove="1" noResize="1" noEditPoints="1" noAdjustHandles="1" noChangeArrowheads="1" noChangeShapeType="1" noCrop="1"/>
          </p:cNvPicPr>
          <p:nvPr userDrawn="1"/>
        </p:nvPicPr>
        <p:blipFill>
          <a:blip r:embed="rId2">
            <a:alphaModFix amt="15000"/>
          </a:blip>
          <a:srcRect/>
          <a:stretch/>
        </p:blipFill>
        <p:spPr>
          <a:xfrm>
            <a:off x="1" y="2429070"/>
            <a:ext cx="12456408" cy="4482326"/>
          </a:xfrm>
          <a:prstGeom prst="rect">
            <a:avLst/>
          </a:prstGeom>
          <a:effectLst/>
        </p:spPr>
      </p:pic>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
        <p:nvSpPr>
          <p:cNvPr id="4" name="Rubrik 1">
            <a:extLst>
              <a:ext uri="{FF2B5EF4-FFF2-40B4-BE49-F238E27FC236}">
                <a16:creationId xmlns:a16="http://schemas.microsoft.com/office/drawing/2014/main" id="{7E6A7A67-FEB9-1F8C-C6A3-72CD04A57EB2}"/>
              </a:ext>
            </a:extLst>
          </p:cNvPr>
          <p:cNvSpPr>
            <a:spLocks noGrp="1"/>
          </p:cNvSpPr>
          <p:nvPr>
            <p:ph type="title" hasCustomPrompt="1"/>
          </p:nvPr>
        </p:nvSpPr>
        <p:spPr>
          <a:xfrm>
            <a:off x="838200" y="2595369"/>
            <a:ext cx="8588098" cy="1325563"/>
          </a:xfrm>
        </p:spPr>
        <p:txBody>
          <a:bodyPr anchor="t">
            <a:normAutofit/>
          </a:bodyPr>
          <a:lstStyle>
            <a:lvl1pPr>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5" name="Platshållare för text 17">
            <a:extLst>
              <a:ext uri="{FF2B5EF4-FFF2-40B4-BE49-F238E27FC236}">
                <a16:creationId xmlns:a16="http://schemas.microsoft.com/office/drawing/2014/main" id="{E124186E-FE5C-A6CC-5F5B-9055378EDD07}"/>
              </a:ext>
            </a:extLst>
          </p:cNvPr>
          <p:cNvSpPr>
            <a:spLocks noGrp="1"/>
          </p:cNvSpPr>
          <p:nvPr>
            <p:ph type="body" sz="quarter" idx="10" hasCustomPrompt="1"/>
          </p:nvPr>
        </p:nvSpPr>
        <p:spPr>
          <a:xfrm>
            <a:off x="838199" y="4117068"/>
            <a:ext cx="8588098"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6" name="Bildobjekt 5">
            <a:extLst>
              <a:ext uri="{FF2B5EF4-FFF2-40B4-BE49-F238E27FC236}">
                <a16:creationId xmlns:a16="http://schemas.microsoft.com/office/drawing/2014/main" id="{42892FC5-A0E3-43FF-892A-6F6679A78E53}"/>
              </a:ext>
            </a:extLst>
          </p:cNvPr>
          <p:cNvPicPr>
            <a:picLocks noChangeAspect="1"/>
          </p:cNvPicPr>
          <p:nvPr userDrawn="1"/>
        </p:nvPicPr>
        <p:blipFill>
          <a:blip r:embed="rId4"/>
          <a:srcRect/>
          <a:stretch/>
        </p:blipFill>
        <p:spPr>
          <a:xfrm>
            <a:off x="11353800" y="310256"/>
            <a:ext cx="532354" cy="525616"/>
          </a:xfrm>
          <a:prstGeom prst="rect">
            <a:avLst/>
          </a:prstGeom>
        </p:spPr>
      </p:pic>
    </p:spTree>
    <p:extLst>
      <p:ext uri="{BB962C8B-B14F-4D97-AF65-F5344CB8AC3E}">
        <p14:creationId xmlns:p14="http://schemas.microsoft.com/office/powerpoint/2010/main" val="3585416558"/>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21_Rubrik och punktlista skog ljung">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E1F64F3E-4C23-0498-7636-B623A353D891}"/>
              </a:ext>
            </a:extLst>
          </p:cNvPr>
          <p:cNvPicPr>
            <a:picLocks noGrp="1" noRot="1" noChangeAspect="1" noMove="1" noResize="1" noEditPoints="1" noAdjustHandles="1" noChangeArrowheads="1" noChangeShapeType="1" noCrop="1"/>
          </p:cNvPicPr>
          <p:nvPr userDrawn="1"/>
        </p:nvPicPr>
        <p:blipFill>
          <a:blip r:embed="rId2">
            <a:alphaModFix amt="10000"/>
          </a:blip>
          <a:srcRect/>
          <a:stretch/>
        </p:blipFill>
        <p:spPr>
          <a:xfrm>
            <a:off x="0" y="2384429"/>
            <a:ext cx="12553111" cy="4513619"/>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2C30E3ED-B95A-B5D1-CAE5-1AE39D0998BB}"/>
              </a:ext>
            </a:extLst>
          </p:cNvPr>
          <p:cNvPicPr>
            <a:picLocks noChangeAspect="1"/>
          </p:cNvPicPr>
          <p:nvPr userDrawn="1"/>
        </p:nvPicPr>
        <p:blipFill>
          <a:blip r:embed="rId4"/>
          <a:srcRect/>
          <a:stretch/>
        </p:blipFill>
        <p:spPr>
          <a:xfrm>
            <a:off x="11353800" y="310256"/>
            <a:ext cx="532354" cy="525616"/>
          </a:xfrm>
          <a:prstGeom prst="rect">
            <a:avLst/>
          </a:prstGeom>
        </p:spPr>
      </p:pic>
      <p:cxnSp>
        <p:nvCxnSpPr>
          <p:cNvPr id="6" name="Rak koppling 5">
            <a:extLst>
              <a:ext uri="{FF2B5EF4-FFF2-40B4-BE49-F238E27FC236}">
                <a16:creationId xmlns:a16="http://schemas.microsoft.com/office/drawing/2014/main" id="{D0EC2B74-0D98-1531-77E1-E2DF7FD056E6}"/>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0030443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6_Rubriksida skog dunge">
    <p:spTree>
      <p:nvGrpSpPr>
        <p:cNvPr id="1" name=""/>
        <p:cNvGrpSpPr/>
        <p:nvPr/>
      </p:nvGrpSpPr>
      <p:grpSpPr>
        <a:xfrm>
          <a:off x="0" y="0"/>
          <a:ext cx="0" cy="0"/>
          <a:chOff x="0" y="0"/>
          <a:chExt cx="0" cy="0"/>
        </a:xfrm>
      </p:grpSpPr>
      <p:pic>
        <p:nvPicPr>
          <p:cNvPr id="2" name="Bildobjekt 1">
            <a:extLst>
              <a:ext uri="{FF2B5EF4-FFF2-40B4-BE49-F238E27FC236}">
                <a16:creationId xmlns:a16="http://schemas.microsoft.com/office/drawing/2014/main" id="{4A97EDE0-48D4-51D7-2AB1-430B9AA9DD8F}"/>
              </a:ext>
            </a:extLst>
          </p:cNvPr>
          <p:cNvPicPr>
            <a:picLocks noGrp="1" noRot="1" noChangeAspect="1" noMove="1" noResize="1" noEditPoints="1" noAdjustHandles="1" noChangeArrowheads="1" noChangeShapeType="1" noCrop="1"/>
          </p:cNvPicPr>
          <p:nvPr userDrawn="1"/>
        </p:nvPicPr>
        <p:blipFill>
          <a:blip r:embed="rId2">
            <a:alphaModFix amt="15000"/>
          </a:blip>
          <a:srcRect/>
          <a:stretch/>
        </p:blipFill>
        <p:spPr>
          <a:xfrm>
            <a:off x="0" y="2383967"/>
            <a:ext cx="12556235" cy="4514742"/>
          </a:xfrm>
          <a:prstGeom prst="rect">
            <a:avLst/>
          </a:prstGeom>
        </p:spPr>
      </p:pic>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
        <p:nvSpPr>
          <p:cNvPr id="3" name="Rubrik 1">
            <a:extLst>
              <a:ext uri="{FF2B5EF4-FFF2-40B4-BE49-F238E27FC236}">
                <a16:creationId xmlns:a16="http://schemas.microsoft.com/office/drawing/2014/main" id="{6349F7A3-90EC-75A2-DDA7-18391EEBDB77}"/>
              </a:ext>
            </a:extLst>
          </p:cNvPr>
          <p:cNvSpPr>
            <a:spLocks noGrp="1"/>
          </p:cNvSpPr>
          <p:nvPr>
            <p:ph type="title" hasCustomPrompt="1"/>
          </p:nvPr>
        </p:nvSpPr>
        <p:spPr>
          <a:xfrm>
            <a:off x="838200" y="2595369"/>
            <a:ext cx="8532866" cy="1325563"/>
          </a:xfrm>
        </p:spPr>
        <p:txBody>
          <a:bodyPr anchor="t">
            <a:normAutofit/>
          </a:bodyPr>
          <a:lstStyle>
            <a:lvl1pPr>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4" name="Platshållare för text 17">
            <a:extLst>
              <a:ext uri="{FF2B5EF4-FFF2-40B4-BE49-F238E27FC236}">
                <a16:creationId xmlns:a16="http://schemas.microsoft.com/office/drawing/2014/main" id="{6AD6F827-DA12-383A-0312-558D51941FCC}"/>
              </a:ext>
            </a:extLst>
          </p:cNvPr>
          <p:cNvSpPr>
            <a:spLocks noGrp="1"/>
          </p:cNvSpPr>
          <p:nvPr>
            <p:ph type="body" sz="quarter" idx="10" hasCustomPrompt="1"/>
          </p:nvPr>
        </p:nvSpPr>
        <p:spPr>
          <a:xfrm>
            <a:off x="838199" y="4117068"/>
            <a:ext cx="853286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5" name="Bildobjekt 4">
            <a:extLst>
              <a:ext uri="{FF2B5EF4-FFF2-40B4-BE49-F238E27FC236}">
                <a16:creationId xmlns:a16="http://schemas.microsoft.com/office/drawing/2014/main" id="{4DF68FD2-32DB-EC31-8544-C55A521B0D66}"/>
              </a:ext>
            </a:extLst>
          </p:cNvPr>
          <p:cNvPicPr>
            <a:picLocks noChangeAspect="1"/>
          </p:cNvPicPr>
          <p:nvPr userDrawn="1"/>
        </p:nvPicPr>
        <p:blipFill>
          <a:blip r:embed="rId4"/>
          <a:srcRect/>
          <a:stretch/>
        </p:blipFill>
        <p:spPr>
          <a:xfrm>
            <a:off x="11353800" y="310256"/>
            <a:ext cx="532354" cy="525616"/>
          </a:xfrm>
          <a:prstGeom prst="rect">
            <a:avLst/>
          </a:prstGeom>
        </p:spPr>
      </p:pic>
    </p:spTree>
    <p:extLst>
      <p:ext uri="{BB962C8B-B14F-4D97-AF65-F5344CB8AC3E}">
        <p14:creationId xmlns:p14="http://schemas.microsoft.com/office/powerpoint/2010/main" val="226206223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9_Rubrik och text skog grön">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DD2CDD1A-7E21-8AFD-A1BF-C28319AC3226}"/>
              </a:ext>
            </a:extLst>
          </p:cNvPr>
          <p:cNvPicPr>
            <a:picLocks noGrp="1" noRot="1" noChangeAspect="1" noMove="1" noResize="1" noEditPoints="1" noAdjustHandles="1" noChangeArrowheads="1" noChangeShapeType="1" noCrop="1"/>
          </p:cNvPicPr>
          <p:nvPr userDrawn="1"/>
        </p:nvPicPr>
        <p:blipFill>
          <a:blip r:embed="rId2">
            <a:alphaModFix amt="15000"/>
          </a:blip>
          <a:srcRect/>
          <a:stretch/>
        </p:blipFill>
        <p:spPr>
          <a:xfrm>
            <a:off x="0" y="2383967"/>
            <a:ext cx="12556235" cy="4514742"/>
          </a:xfrm>
          <a:prstGeom prst="rect">
            <a:avLst/>
          </a:prstGeom>
        </p:spPr>
      </p:pic>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6"/>
            <a:ext cx="10515600" cy="4123482"/>
          </a:xfrm>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5" name="Rubrik 1">
            <a:extLst>
              <a:ext uri="{FF2B5EF4-FFF2-40B4-BE49-F238E27FC236}">
                <a16:creationId xmlns:a16="http://schemas.microsoft.com/office/drawing/2014/main" id="{414BA7AB-C86C-4934-53BC-C97645C6FCD9}"/>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2" name="Bildobjekt 1">
            <a:extLst>
              <a:ext uri="{FF2B5EF4-FFF2-40B4-BE49-F238E27FC236}">
                <a16:creationId xmlns:a16="http://schemas.microsoft.com/office/drawing/2014/main" id="{EEC04E04-AF0A-B6E1-5B8D-76C0137FAD02}"/>
              </a:ext>
            </a:extLst>
          </p:cNvPr>
          <p:cNvPicPr>
            <a:picLocks noChangeAspect="1"/>
          </p:cNvPicPr>
          <p:nvPr userDrawn="1"/>
        </p:nvPicPr>
        <p:blipFill>
          <a:blip r:embed="rId4"/>
          <a:srcRect/>
          <a:stretch/>
        </p:blipFill>
        <p:spPr>
          <a:xfrm>
            <a:off x="11353800" y="310256"/>
            <a:ext cx="532354" cy="525616"/>
          </a:xfrm>
          <a:prstGeom prst="rect">
            <a:avLst/>
          </a:prstGeom>
        </p:spPr>
      </p:pic>
      <p:cxnSp>
        <p:nvCxnSpPr>
          <p:cNvPr id="6" name="Rak koppling 5">
            <a:extLst>
              <a:ext uri="{FF2B5EF4-FFF2-40B4-BE49-F238E27FC236}">
                <a16:creationId xmlns:a16="http://schemas.microsoft.com/office/drawing/2014/main" id="{C68DBA6E-A0AB-507A-15D0-968AA88BEF70}"/>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974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5_Rubrik och punktlista skog blå">
    <p:spTree>
      <p:nvGrpSpPr>
        <p:cNvPr id="1" name=""/>
        <p:cNvGrpSpPr/>
        <p:nvPr/>
      </p:nvGrpSpPr>
      <p:grpSpPr>
        <a:xfrm>
          <a:off x="0" y="0"/>
          <a:ext cx="0" cy="0"/>
          <a:chOff x="0" y="0"/>
          <a:chExt cx="0" cy="0"/>
        </a:xfrm>
      </p:grpSpPr>
      <p:pic>
        <p:nvPicPr>
          <p:cNvPr id="4" name="Bildobjekt 3">
            <a:extLst>
              <a:ext uri="{FF2B5EF4-FFF2-40B4-BE49-F238E27FC236}">
                <a16:creationId xmlns:a16="http://schemas.microsoft.com/office/drawing/2014/main" id="{70E7C8AF-0E2A-4F8D-6048-E4305DD764B2}"/>
              </a:ext>
            </a:extLst>
          </p:cNvPr>
          <p:cNvPicPr>
            <a:picLocks noGrp="1" noRot="1" noChangeAspect="1" noMove="1" noResize="1" noEditPoints="1" noAdjustHandles="1" noChangeArrowheads="1" noChangeShapeType="1" noCrop="1"/>
          </p:cNvPicPr>
          <p:nvPr userDrawn="1"/>
        </p:nvPicPr>
        <p:blipFill>
          <a:blip r:embed="rId2">
            <a:alphaModFix amt="15000"/>
          </a:blip>
          <a:srcRect/>
          <a:stretch/>
        </p:blipFill>
        <p:spPr>
          <a:xfrm>
            <a:off x="1" y="2389386"/>
            <a:ext cx="12547656" cy="4511658"/>
          </a:xfrm>
          <a:prstGeom prst="rect">
            <a:avLst/>
          </a:prstGeom>
        </p:spPr>
      </p:pic>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2" name="Bildobjekt 1">
            <a:extLst>
              <a:ext uri="{FF2B5EF4-FFF2-40B4-BE49-F238E27FC236}">
                <a16:creationId xmlns:a16="http://schemas.microsoft.com/office/drawing/2014/main" id="{814D60BB-671D-6BD8-7EF1-A64DA0670AC0}"/>
              </a:ext>
            </a:extLst>
          </p:cNvPr>
          <p:cNvPicPr>
            <a:picLocks noChangeAspect="1"/>
          </p:cNvPicPr>
          <p:nvPr userDrawn="1"/>
        </p:nvPicPr>
        <p:blipFill>
          <a:blip r:embed="rId4"/>
          <a:srcRect/>
          <a:stretch/>
        </p:blipFill>
        <p:spPr>
          <a:xfrm>
            <a:off x="11353800" y="310256"/>
            <a:ext cx="532354" cy="525616"/>
          </a:xfrm>
          <a:prstGeom prst="rect">
            <a:avLst/>
          </a:prstGeom>
        </p:spPr>
      </p:pic>
      <p:sp>
        <p:nvSpPr>
          <p:cNvPr id="6" name="Rubrik 1">
            <a:extLst>
              <a:ext uri="{FF2B5EF4-FFF2-40B4-BE49-F238E27FC236}">
                <a16:creationId xmlns:a16="http://schemas.microsoft.com/office/drawing/2014/main" id="{3370C480-E33D-7C2D-C5D0-1B35DA2E1EFF}"/>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7" name="Rak koppling 6">
            <a:extLst>
              <a:ext uri="{FF2B5EF4-FFF2-40B4-BE49-F238E27FC236}">
                <a16:creationId xmlns:a16="http://schemas.microsoft.com/office/drawing/2014/main" id="{5EC82B53-C15E-CA3E-6C7B-9B9F82EA4F6C}"/>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049240347"/>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8_Mellansida Egen bild ">
    <p:spTree>
      <p:nvGrpSpPr>
        <p:cNvPr id="1" name=""/>
        <p:cNvGrpSpPr/>
        <p:nvPr/>
      </p:nvGrpSpPr>
      <p:grpSpPr>
        <a:xfrm>
          <a:off x="0" y="0"/>
          <a:ext cx="0" cy="0"/>
          <a:chOff x="0" y="0"/>
          <a:chExt cx="0" cy="0"/>
        </a:xfrm>
      </p:grpSpPr>
      <p:sp>
        <p:nvSpPr>
          <p:cNvPr id="7" name="Platshållare för bild 6">
            <a:extLst>
              <a:ext uri="{FF2B5EF4-FFF2-40B4-BE49-F238E27FC236}">
                <a16:creationId xmlns:a16="http://schemas.microsoft.com/office/drawing/2014/main" id="{31BA07DA-DDBB-4369-8027-E86DBBE3C15E}"/>
              </a:ext>
            </a:extLst>
          </p:cNvPr>
          <p:cNvSpPr>
            <a:spLocks noGrp="1"/>
          </p:cNvSpPr>
          <p:nvPr>
            <p:ph type="pic" sz="quarter" idx="10" hasCustomPrompt="1"/>
          </p:nvPr>
        </p:nvSpPr>
        <p:spPr>
          <a:xfrm>
            <a:off x="7199313" y="0"/>
            <a:ext cx="4992687" cy="6858000"/>
          </a:xfrm>
        </p:spPr>
        <p:txBody>
          <a:bodyPr/>
          <a:lstStyle>
            <a:lvl1pPr marL="0" indent="0">
              <a:buNone/>
              <a:defRPr/>
            </a:lvl1pPr>
          </a:lstStyle>
          <a:p>
            <a:r>
              <a:rPr lang="sv-SE"/>
              <a:t>Infoga bild här</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1353800" y="306887"/>
            <a:ext cx="532356" cy="532356"/>
          </a:xfrm>
          <a:prstGeom prst="rect">
            <a:avLst/>
          </a:prstGeom>
        </p:spPr>
      </p:pic>
      <p:sp>
        <p:nvSpPr>
          <p:cNvPr id="8" name="Rubrik 1">
            <a:extLst>
              <a:ext uri="{FF2B5EF4-FFF2-40B4-BE49-F238E27FC236}">
                <a16:creationId xmlns:a16="http://schemas.microsoft.com/office/drawing/2014/main" id="{245997FA-FCC6-E221-532F-B6307B3C9A83}"/>
              </a:ext>
            </a:extLst>
          </p:cNvPr>
          <p:cNvSpPr txBox="1">
            <a:spLocks/>
          </p:cNvSpPr>
          <p:nvPr userDrawn="1"/>
        </p:nvSpPr>
        <p:spPr>
          <a:xfrm>
            <a:off x="838200" y="795403"/>
            <a:ext cx="10515600" cy="895285"/>
          </a:xfrm>
          <a:prstGeom prst="rect">
            <a:avLst/>
          </a:prstGeom>
        </p:spPr>
        <p:txBody>
          <a:bodyPr vert="horz" lIns="91440" tIns="45720" rIns="91440" bIns="45720" rtlCol="0" anchor="t">
            <a:normAutofit/>
          </a:bodyPr>
          <a:lstStyle>
            <a:lvl1pPr algn="l" defTabSz="914400" rtl="0" eaLnBrk="1" latinLnBrk="0" hangingPunct="1">
              <a:lnSpc>
                <a:spcPct val="100000"/>
              </a:lnSpc>
              <a:spcBef>
                <a:spcPct val="0"/>
              </a:spcBef>
              <a:buNone/>
              <a:defRPr sz="2400" b="1" i="0" kern="120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sv-SE" sz="2400" b="1" i="0" u="none" strike="noStrike" kern="1200" cap="none" spc="-40" normalizeH="0" baseline="0" noProof="0">
                <a:ln>
                  <a:noFill/>
                </a:ln>
                <a:solidFill>
                  <a:srgbClr val="000000"/>
                </a:solidFill>
                <a:effectLst/>
                <a:uLnTx/>
                <a:uFillTx/>
                <a:latin typeface="Open Sans" panose="020B0606030504020204" pitchFamily="34" charset="0"/>
                <a:ea typeface="Open Sans" panose="020B0606030504020204" pitchFamily="34" charset="0"/>
                <a:cs typeface="Open Sans" panose="020B0606030504020204" pitchFamily="34" charset="0"/>
              </a:rPr>
              <a:t>Klicka här för att skriva rubrik</a:t>
            </a:r>
          </a:p>
        </p:txBody>
      </p:sp>
      <p:sp>
        <p:nvSpPr>
          <p:cNvPr id="9" name="Platshållare för innehåll 2">
            <a:extLst>
              <a:ext uri="{FF2B5EF4-FFF2-40B4-BE49-F238E27FC236}">
                <a16:creationId xmlns:a16="http://schemas.microsoft.com/office/drawing/2014/main" id="{1A958361-2B07-2E17-896C-4F1613060F2E}"/>
              </a:ext>
            </a:extLst>
          </p:cNvPr>
          <p:cNvSpPr>
            <a:spLocks noGrp="1"/>
          </p:cNvSpPr>
          <p:nvPr>
            <p:ph idx="1"/>
          </p:nvPr>
        </p:nvSpPr>
        <p:spPr>
          <a:xfrm>
            <a:off x="838200" y="1825625"/>
            <a:ext cx="5040000" cy="4351338"/>
          </a:xfrm>
        </p:spPr>
        <p:txBody>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Tree>
    <p:extLst>
      <p:ext uri="{BB962C8B-B14F-4D97-AF65-F5344CB8AC3E}">
        <p14:creationId xmlns:p14="http://schemas.microsoft.com/office/powerpoint/2010/main" val="77081645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7_Rubrik och punktlista handslag ljus tonin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graysc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ktangel 6">
            <a:extLst>
              <a:ext uri="{FF2B5EF4-FFF2-40B4-BE49-F238E27FC236}">
                <a16:creationId xmlns:a16="http://schemas.microsoft.com/office/drawing/2014/main" id="{45489A8B-6881-414C-AAA8-C5354BC0FB48}"/>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2" name="Rubrik 1">
            <a:extLst>
              <a:ext uri="{FF2B5EF4-FFF2-40B4-BE49-F238E27FC236}">
                <a16:creationId xmlns:a16="http://schemas.microsoft.com/office/drawing/2014/main" id="{379ED7C3-081C-6548-AE82-56E28C914BE5}"/>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4" name="Bildobjekt 3">
            <a:extLst>
              <a:ext uri="{FF2B5EF4-FFF2-40B4-BE49-F238E27FC236}">
                <a16:creationId xmlns:a16="http://schemas.microsoft.com/office/drawing/2014/main" id="{DDF1EDB6-22D6-BC83-3215-01C3A69B573D}"/>
              </a:ext>
            </a:extLst>
          </p:cNvPr>
          <p:cNvPicPr>
            <a:picLocks noChangeAspect="1"/>
          </p:cNvPicPr>
          <p:nvPr userDrawn="1"/>
        </p:nvPicPr>
        <p:blipFill>
          <a:blip r:embed="rId4"/>
          <a:srcRect/>
          <a:stretch/>
        </p:blipFill>
        <p:spPr>
          <a:xfrm>
            <a:off x="11353800" y="310256"/>
            <a:ext cx="532353" cy="525615"/>
          </a:xfrm>
          <a:prstGeom prst="rect">
            <a:avLst/>
          </a:prstGeom>
        </p:spPr>
      </p:pic>
      <p:cxnSp>
        <p:nvCxnSpPr>
          <p:cNvPr id="6" name="Rak koppling 5">
            <a:extLst>
              <a:ext uri="{FF2B5EF4-FFF2-40B4-BE49-F238E27FC236}">
                <a16:creationId xmlns:a16="http://schemas.microsoft.com/office/drawing/2014/main" id="{6BFFA793-5441-C844-5E76-80F2BB85C288}"/>
              </a:ext>
            </a:extLst>
          </p:cNvPr>
          <p:cNvCxnSpPr/>
          <p:nvPr userDrawn="1"/>
        </p:nvCxnSpPr>
        <p:spPr>
          <a:xfrm>
            <a:off x="952010"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7778064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090DBE3-5934-F94B-117D-41850CA8A6E3}"/>
              </a:ext>
            </a:extLst>
          </p:cNvPr>
          <p:cNvSpPr>
            <a:spLocks noGrp="1"/>
          </p:cNvSpPr>
          <p:nvPr>
            <p:ph type="title" hasCustomPrompt="1"/>
          </p:nvPr>
        </p:nvSpPr>
        <p:spPr/>
        <p:txBody>
          <a:bodyPr>
            <a:norm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3" name="Bildobjekt 2">
            <a:extLst>
              <a:ext uri="{FF2B5EF4-FFF2-40B4-BE49-F238E27FC236}">
                <a16:creationId xmlns:a16="http://schemas.microsoft.com/office/drawing/2014/main" id="{2F941B54-9359-DC8B-01CB-9BD534545B88}"/>
              </a:ext>
            </a:extLst>
          </p:cNvPr>
          <p:cNvPicPr>
            <a:picLocks noChangeAspect="1"/>
          </p:cNvPicPr>
          <p:nvPr userDrawn="1"/>
        </p:nvPicPr>
        <p:blipFill>
          <a:blip r:embed="rId2"/>
          <a:srcRect/>
          <a:stretch/>
        </p:blipFill>
        <p:spPr>
          <a:xfrm>
            <a:off x="11353800" y="310256"/>
            <a:ext cx="532353" cy="525615"/>
          </a:xfrm>
          <a:prstGeom prst="rect">
            <a:avLst/>
          </a:prstGeom>
        </p:spPr>
      </p:pic>
    </p:spTree>
    <p:extLst>
      <p:ext uri="{BB962C8B-B14F-4D97-AF65-F5344CB8AC3E}">
        <p14:creationId xmlns:p14="http://schemas.microsoft.com/office/powerpoint/2010/main" val="1727063371"/>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Förstasida endast logo">
    <p:spTree>
      <p:nvGrpSpPr>
        <p:cNvPr id="1" name=""/>
        <p:cNvGrpSpPr/>
        <p:nvPr/>
      </p:nvGrpSpPr>
      <p:grpSpPr>
        <a:xfrm>
          <a:off x="0" y="0"/>
          <a:ext cx="0" cy="0"/>
          <a:chOff x="0" y="0"/>
          <a:chExt cx="0" cy="0"/>
        </a:xfrm>
      </p:grpSpPr>
      <p:pic>
        <p:nvPicPr>
          <p:cNvPr id="4" name="Bildobjekt 3" descr="En bild som visar träd, utomhus, skog, trä&#10;&#10;Automatiskt genererad beskrivning">
            <a:extLst>
              <a:ext uri="{FF2B5EF4-FFF2-40B4-BE49-F238E27FC236}">
                <a16:creationId xmlns:a16="http://schemas.microsoft.com/office/drawing/2014/main" id="{844745CF-7C36-3243-B9C6-AD5D1C2F5B1D}"/>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pic>
        <p:nvPicPr>
          <p:cNvPr id="7" name="Bildobjekt 6" descr="En bild som visar ritning&#10;&#10;Automatiskt genererad beskrivning">
            <a:extLst>
              <a:ext uri="{FF2B5EF4-FFF2-40B4-BE49-F238E27FC236}">
                <a16:creationId xmlns:a16="http://schemas.microsoft.com/office/drawing/2014/main" id="{43E5D5CC-697F-6844-939F-0A5A8BC965B0}"/>
              </a:ext>
            </a:extLst>
          </p:cNvPr>
          <p:cNvPicPr>
            <a:picLocks noChangeAspect="1"/>
          </p:cNvPicPr>
          <p:nvPr userDrawn="1"/>
        </p:nvPicPr>
        <p:blipFill>
          <a:blip r:embed="rId3"/>
          <a:stretch>
            <a:fillRect/>
          </a:stretch>
        </p:blipFill>
        <p:spPr>
          <a:xfrm>
            <a:off x="1841326" y="2280912"/>
            <a:ext cx="8509348" cy="1994378"/>
          </a:xfrm>
          <a:prstGeom prst="rect">
            <a:avLst/>
          </a:prstGeom>
        </p:spPr>
      </p:pic>
    </p:spTree>
    <p:extLst>
      <p:ext uri="{BB962C8B-B14F-4D97-AF65-F5344CB8AC3E}">
        <p14:creationId xmlns:p14="http://schemas.microsoft.com/office/powerpoint/2010/main" val="1382039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 preserve="1">
  <p:cSld name="Förstasida_1">
    <p:spTree>
      <p:nvGrpSpPr>
        <p:cNvPr id="1" name=""/>
        <p:cNvGrpSpPr/>
        <p:nvPr/>
      </p:nvGrpSpPr>
      <p:grpSpPr>
        <a:xfrm>
          <a:off x="0" y="0"/>
          <a:ext cx="0" cy="0"/>
          <a:chOff x="0" y="0"/>
          <a:chExt cx="0" cy="0"/>
        </a:xfrm>
      </p:grpSpPr>
      <p:pic>
        <p:nvPicPr>
          <p:cNvPr id="7" name="Bildobjekt 6" descr="En bild som visar inomhus, bit, choklad, nära&#10;&#10;Automatiskt genererad beskrivning">
            <a:extLst>
              <a:ext uri="{FF2B5EF4-FFF2-40B4-BE49-F238E27FC236}">
                <a16:creationId xmlns:a16="http://schemas.microsoft.com/office/drawing/2014/main" id="{D698C875-4914-3947-BDA0-1A8EDB48C67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5309DB69-9C4F-3247-AF7F-705F73A4D21D}"/>
              </a:ext>
            </a:extLst>
          </p:cNvPr>
          <p:cNvSpPr>
            <a:spLocks noGrp="1"/>
          </p:cNvSpPr>
          <p:nvPr>
            <p:ph type="ctrTitle" hasCustomPrompt="1"/>
          </p:nvPr>
        </p:nvSpPr>
        <p:spPr>
          <a:xfrm>
            <a:off x="1631267" y="1382707"/>
            <a:ext cx="6242137" cy="443314"/>
          </a:xfrm>
        </p:spPr>
        <p:txBody>
          <a:bodyPr anchor="t"/>
          <a:lstStyle>
            <a:lvl1pPr algn="l">
              <a:defRPr sz="1600" b="1" i="0" spc="-3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döpa presentationen</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hasCustomPrompt="1"/>
          </p:nvPr>
        </p:nvSpPr>
        <p:spPr>
          <a:xfrm>
            <a:off x="1631267" y="1667233"/>
            <a:ext cx="4230941" cy="317575"/>
          </a:xfrm>
        </p:spPr>
        <p:txBody>
          <a:bodyPr/>
          <a:lstStyle>
            <a:lvl1pPr marL="0" indent="0" algn="l">
              <a:buNone/>
              <a:defRPr sz="11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skriva datum</a:t>
            </a:r>
          </a:p>
        </p:txBody>
      </p:sp>
      <p:pic>
        <p:nvPicPr>
          <p:cNvPr id="6" name="Bildobjekt 5" descr="En bild som visar ritning&#10;&#10;Automatiskt genererad beskrivning">
            <a:extLst>
              <a:ext uri="{FF2B5EF4-FFF2-40B4-BE49-F238E27FC236}">
                <a16:creationId xmlns:a16="http://schemas.microsoft.com/office/drawing/2014/main" id="{13A9E33A-5696-6347-B3A9-1F8412DFEBD4}"/>
              </a:ext>
            </a:extLst>
          </p:cNvPr>
          <p:cNvPicPr>
            <a:picLocks noChangeAspect="1"/>
          </p:cNvPicPr>
          <p:nvPr userDrawn="1"/>
        </p:nvPicPr>
        <p:blipFill>
          <a:blip r:embed="rId3"/>
          <a:stretch>
            <a:fillRect/>
          </a:stretch>
        </p:blipFill>
        <p:spPr>
          <a:xfrm>
            <a:off x="565758" y="503694"/>
            <a:ext cx="4106783" cy="962527"/>
          </a:xfrm>
          <a:prstGeom prst="rect">
            <a:avLst/>
          </a:prstGeom>
        </p:spPr>
      </p:pic>
    </p:spTree>
    <p:extLst>
      <p:ext uri="{BB962C8B-B14F-4D97-AF65-F5344CB8AC3E}">
        <p14:creationId xmlns:p14="http://schemas.microsoft.com/office/powerpoint/2010/main" val="102788225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Mellansida Rubrik 2">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CCCBB8AC-2B37-F50A-184A-6B4687A88070}"/>
              </a:ext>
            </a:extLst>
          </p:cNvPr>
          <p:cNvPicPr>
            <a:picLocks noChangeAspect="1"/>
          </p:cNvPicPr>
          <p:nvPr userDrawn="1"/>
        </p:nvPicPr>
        <p:blipFill>
          <a:blip r:embed="rId2" cstate="screen">
            <a:extLst>
              <a:ext uri="{28A0092B-C50C-407E-A947-70E740481C1C}">
                <a14:useLocalDpi xmlns:a14="http://schemas.microsoft.com/office/drawing/2010/main"/>
              </a:ext>
            </a:extLst>
          </a:blip>
          <a:srcRect/>
          <a:stretch/>
        </p:blipFill>
        <p:spPr>
          <a:xfrm>
            <a:off x="0" y="-1"/>
            <a:ext cx="12185863" cy="6858001"/>
          </a:xfrm>
          <a:prstGeom prst="rect">
            <a:avLst/>
          </a:prstGeom>
        </p:spPr>
      </p:pic>
      <p:sp>
        <p:nvSpPr>
          <p:cNvPr id="11" name="Platshållare för text 17">
            <a:extLst>
              <a:ext uri="{FF2B5EF4-FFF2-40B4-BE49-F238E27FC236}">
                <a16:creationId xmlns:a16="http://schemas.microsoft.com/office/drawing/2014/main" id="{0F10BEBC-F508-33E1-D47A-872696709E65}"/>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2" name="Bildobjekt 1">
            <a:extLst>
              <a:ext uri="{FF2B5EF4-FFF2-40B4-BE49-F238E27FC236}">
                <a16:creationId xmlns:a16="http://schemas.microsoft.com/office/drawing/2014/main" id="{4417AAEF-04C7-C835-A18B-2EA7FCA5C4F5}"/>
              </a:ext>
            </a:extLst>
          </p:cNvPr>
          <p:cNvPicPr>
            <a:picLocks noChangeAspect="1"/>
          </p:cNvPicPr>
          <p:nvPr userDrawn="1"/>
        </p:nvPicPr>
        <p:blipFill>
          <a:blip r:embed="rId3"/>
          <a:srcRect/>
          <a:stretch/>
        </p:blipFill>
        <p:spPr>
          <a:xfrm>
            <a:off x="11353800" y="310256"/>
            <a:ext cx="532356" cy="525617"/>
          </a:xfrm>
          <a:prstGeom prst="rect">
            <a:avLst/>
          </a:prstGeom>
        </p:spPr>
      </p:pic>
      <p:sp>
        <p:nvSpPr>
          <p:cNvPr id="4" name="Platshållare för text 2">
            <a:extLst>
              <a:ext uri="{FF2B5EF4-FFF2-40B4-BE49-F238E27FC236}">
                <a16:creationId xmlns:a16="http://schemas.microsoft.com/office/drawing/2014/main" id="{A3352554-5283-BDCA-D77F-2FF89DEA6468}"/>
              </a:ext>
            </a:extLst>
          </p:cNvPr>
          <p:cNvSpPr>
            <a:spLocks noGrp="1"/>
          </p:cNvSpPr>
          <p:nvPr>
            <p:ph type="body" sz="quarter" idx="11" hasCustomPrompt="1"/>
          </p:nvPr>
        </p:nvSpPr>
        <p:spPr>
          <a:xfrm>
            <a:off x="838200" y="5676900"/>
            <a:ext cx="5257800" cy="657225"/>
          </a:xfrm>
        </p:spPr>
        <p:txBody>
          <a:bodyPr/>
          <a:lstStyle>
            <a:lvl1pPr marL="0" indent="0">
              <a:buNone/>
              <a:defRPr>
                <a:solidFill>
                  <a:schemeClr val="bg1"/>
                </a:solidFill>
              </a:defRPr>
            </a:lvl1pPr>
            <a:lvl2pPr marL="0" indent="0">
              <a:buNone/>
              <a:defRPr sz="16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stStyle>
          <a:p>
            <a:pPr lvl="1"/>
            <a:r>
              <a:rPr lang="sv-SE"/>
              <a:t>2024-XX-XX</a:t>
            </a:r>
          </a:p>
        </p:txBody>
      </p:sp>
      <p:cxnSp>
        <p:nvCxnSpPr>
          <p:cNvPr id="3" name="Rak koppling 2">
            <a:extLst>
              <a:ext uri="{FF2B5EF4-FFF2-40B4-BE49-F238E27FC236}">
                <a16:creationId xmlns:a16="http://schemas.microsoft.com/office/drawing/2014/main" id="{44EAD732-8E5C-9396-FF87-00319608AEEA}"/>
              </a:ext>
            </a:extLst>
          </p:cNvPr>
          <p:cNvCxnSpPr/>
          <p:nvPr userDrawn="1"/>
        </p:nvCxnSpPr>
        <p:spPr>
          <a:xfrm>
            <a:off x="730292" y="2595369"/>
            <a:ext cx="0" cy="132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ubrik 1">
            <a:extLst>
              <a:ext uri="{FF2B5EF4-FFF2-40B4-BE49-F238E27FC236}">
                <a16:creationId xmlns:a16="http://schemas.microsoft.com/office/drawing/2014/main" id="{4284330D-BD1F-B093-8FED-4A3EE517B374}"/>
              </a:ext>
            </a:extLst>
          </p:cNvPr>
          <p:cNvSpPr>
            <a:spLocks noGrp="1"/>
          </p:cNvSpPr>
          <p:nvPr>
            <p:ph type="title" hasCustomPrompt="1"/>
          </p:nvPr>
        </p:nvSpPr>
        <p:spPr>
          <a:xfrm>
            <a:off x="838200" y="2595369"/>
            <a:ext cx="8452756" cy="1325563"/>
          </a:xfrm>
        </p:spPr>
        <p:txBody>
          <a:bodyPr anchor="t"/>
          <a:lstStyle>
            <a:lvl1pPr>
              <a:defRPr b="0" i="0" spc="-80" baseline="0">
                <a:solidFill>
                  <a:schemeClr val="bg1">
                    <a:lumMod val="95000"/>
                  </a:schemeClr>
                </a:solidFill>
                <a:effectLst>
                  <a:outerShdw blurRad="50800" dist="38100" dir="2700000" algn="tl" rotWithShape="0">
                    <a:prstClr val="black">
                      <a:alpha val="65000"/>
                    </a:prst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Tree>
    <p:extLst>
      <p:ext uri="{BB962C8B-B14F-4D97-AF65-F5344CB8AC3E}">
        <p14:creationId xmlns:p14="http://schemas.microsoft.com/office/powerpoint/2010/main" val="65209895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Rubrikbi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309DB69-9C4F-3247-AF7F-705F73A4D21D}"/>
              </a:ext>
            </a:extLst>
          </p:cNvPr>
          <p:cNvSpPr>
            <a:spLocks noGrp="1"/>
          </p:cNvSpPr>
          <p:nvPr>
            <p:ph type="ctrTitle"/>
          </p:nvPr>
        </p:nvSpPr>
        <p:spPr>
          <a:xfrm>
            <a:off x="1524000" y="2393795"/>
            <a:ext cx="8127304" cy="1116168"/>
          </a:xfrm>
        </p:spPr>
        <p:txBody>
          <a:bodyPr anchor="t"/>
          <a:lstStyle>
            <a:lvl1pPr algn="l">
              <a:defRPr sz="3600" b="1" i="0" spc="-8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Underrubrik 2">
            <a:extLst>
              <a:ext uri="{FF2B5EF4-FFF2-40B4-BE49-F238E27FC236}">
                <a16:creationId xmlns:a16="http://schemas.microsoft.com/office/drawing/2014/main" id="{746FF08F-4952-E34F-8725-A2380E0A879C}"/>
              </a:ext>
            </a:extLst>
          </p:cNvPr>
          <p:cNvSpPr>
            <a:spLocks noGrp="1"/>
          </p:cNvSpPr>
          <p:nvPr>
            <p:ph type="subTitle" idx="1"/>
          </p:nvPr>
        </p:nvSpPr>
        <p:spPr>
          <a:xfrm>
            <a:off x="1524000" y="3602038"/>
            <a:ext cx="9144000" cy="1655762"/>
          </a:xfrm>
        </p:spPr>
        <p:txBody>
          <a:bodyPr/>
          <a:lstStyle>
            <a:lvl1pPr marL="0" indent="0" algn="l">
              <a:buNone/>
              <a:defRPr sz="2400">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7D0B8E1C-8E9D-B44C-99B1-6CE46C99917B}"/>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01961664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Mellansida Rubrik 1">
    <p:spTree>
      <p:nvGrpSpPr>
        <p:cNvPr id="1" name=""/>
        <p:cNvGrpSpPr/>
        <p:nvPr/>
      </p:nvGrpSpPr>
      <p:grpSpPr>
        <a:xfrm>
          <a:off x="0" y="0"/>
          <a:ext cx="0" cy="0"/>
          <a:chOff x="0" y="0"/>
          <a:chExt cx="0" cy="0"/>
        </a:xfrm>
      </p:grpSpPr>
      <p:pic>
        <p:nvPicPr>
          <p:cNvPr id="4" name="Bildobjekt 3" descr="En bild som visar himmel, utomhus, föremål utomhus, rad&#10;&#10;Automatiskt genererad beskrivning">
            <a:extLst>
              <a:ext uri="{FF2B5EF4-FFF2-40B4-BE49-F238E27FC236}">
                <a16:creationId xmlns:a16="http://schemas.microsoft.com/office/drawing/2014/main" id="{90666055-DDF7-5044-974C-60C12F5A5E1A}"/>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409992618"/>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titleOnly" preserve="1">
  <p:cSld name="Mellansida Rubrik 2">
    <p:spTree>
      <p:nvGrpSpPr>
        <p:cNvPr id="1" name=""/>
        <p:cNvGrpSpPr/>
        <p:nvPr/>
      </p:nvGrpSpPr>
      <p:grpSpPr>
        <a:xfrm>
          <a:off x="0" y="0"/>
          <a:ext cx="0" cy="0"/>
          <a:chOff x="0" y="0"/>
          <a:chExt cx="0" cy="0"/>
        </a:xfrm>
      </p:grpSpPr>
      <p:pic>
        <p:nvPicPr>
          <p:cNvPr id="5" name="Bildobjekt 4" descr="En bild som visar grön, sitter, skog, träd&#10;&#10;Automatiskt genererad beskrivning">
            <a:extLst>
              <a:ext uri="{FF2B5EF4-FFF2-40B4-BE49-F238E27FC236}">
                <a16:creationId xmlns:a16="http://schemas.microsoft.com/office/drawing/2014/main" id="{922A2FA4-7B6B-4B4A-8C6A-280873A755FB}"/>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5450973"/>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Mellansida Rubrik 2">
    <p:spTree>
      <p:nvGrpSpPr>
        <p:cNvPr id="1" name=""/>
        <p:cNvGrpSpPr/>
        <p:nvPr/>
      </p:nvGrpSpPr>
      <p:grpSpPr>
        <a:xfrm>
          <a:off x="0" y="0"/>
          <a:ext cx="0" cy="0"/>
          <a:chOff x="0" y="0"/>
          <a:chExt cx="0" cy="0"/>
        </a:xfrm>
      </p:grpSpPr>
      <p:pic>
        <p:nvPicPr>
          <p:cNvPr id="4" name="Bildobjekt 3" descr="En bild som visar utomhus, träd, skog, växt&#10;&#10;Automatiskt genererad beskrivning">
            <a:extLst>
              <a:ext uri="{FF2B5EF4-FFF2-40B4-BE49-F238E27FC236}">
                <a16:creationId xmlns:a16="http://schemas.microsoft.com/office/drawing/2014/main" id="{D05B3671-A5BB-C92A-C73F-68063F4B9F31}"/>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20000"/>
                    </a14:imgEffect>
                    <a14:imgEffect>
                      <a14:brightnessContrast contrast="-13000"/>
                    </a14:imgEffect>
                  </a14:imgLayer>
                </a14:imgProps>
              </a:ex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242810373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2_Mellansida Rubrik 2">
    <p:spTree>
      <p:nvGrpSpPr>
        <p:cNvPr id="1" name=""/>
        <p:cNvGrpSpPr/>
        <p:nvPr/>
      </p:nvGrpSpPr>
      <p:grpSpPr>
        <a:xfrm>
          <a:off x="0" y="0"/>
          <a:ext cx="0" cy="0"/>
          <a:chOff x="0" y="0"/>
          <a:chExt cx="0" cy="0"/>
        </a:xfrm>
      </p:grpSpPr>
      <p:pic>
        <p:nvPicPr>
          <p:cNvPr id="8" name="Bildobjekt 7" descr="En bild som visar träd, växt, utomhus, löv&#10;&#10;Automatiskt genererad beskrivning">
            <a:extLst>
              <a:ext uri="{FF2B5EF4-FFF2-40B4-BE49-F238E27FC236}">
                <a16:creationId xmlns:a16="http://schemas.microsoft.com/office/drawing/2014/main" id="{CCCBB8AC-2B37-F50A-184A-6B4687A88070}"/>
              </a:ext>
            </a:extLst>
          </p:cNvPr>
          <p:cNvPicPr>
            <a:picLocks noChangeAspect="1"/>
          </p:cNvPicPr>
          <p:nvPr userDrawn="1"/>
        </p:nvPicPr>
        <p:blipFill rotWithShape="1">
          <a:blip r:embed="rId2" cstate="email">
            <a:extLst>
              <a:ext uri="{BEBA8EAE-BF5A-486C-A8C5-ECC9F3942E4B}">
                <a14:imgProps xmlns:a14="http://schemas.microsoft.com/office/drawing/2010/main">
                  <a14:imgLayer r:embed="rId3">
                    <a14:imgEffect>
                      <a14:sharpenSoften amount="35000"/>
                    </a14:imgEffect>
                    <a14:imgEffect>
                      <a14:colorTemperature colorTemp="7200"/>
                    </a14:imgEffect>
                    <a14:imgEffect>
                      <a14:saturation sat="81000"/>
                    </a14:imgEffect>
                    <a14:imgEffect>
                      <a14:brightnessContrast bright="-24000" contrast="5000"/>
                    </a14:imgEffect>
                  </a14:imgLayer>
                </a14:imgProps>
              </a:ext>
              <a:ext uri="{28A0092B-C50C-407E-A947-70E740481C1C}">
                <a14:useLocalDpi xmlns:a14="http://schemas.microsoft.com/office/drawing/2010/main"/>
              </a:ext>
            </a:extLst>
          </a:blip>
          <a:srcRect/>
          <a:stretch/>
        </p:blipFill>
        <p:spPr>
          <a:xfrm>
            <a:off x="-1" y="0"/>
            <a:ext cx="12218997"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a:effectLst>
            <a:outerShdw blurRad="63500" dist="38100" dir="18900000" algn="bl" rotWithShape="0">
              <a:prstClr val="black">
                <a:alpha val="40000"/>
              </a:prstClr>
            </a:outerShdw>
          </a:effectLst>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sp>
        <p:nvSpPr>
          <p:cNvPr id="18" name="Platshållare för text 17">
            <a:extLst>
              <a:ext uri="{FF2B5EF4-FFF2-40B4-BE49-F238E27FC236}">
                <a16:creationId xmlns:a16="http://schemas.microsoft.com/office/drawing/2014/main" id="{887B0604-5438-4DCD-88B7-2DF8A2874897}"/>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7" name="Bildobjekt 6">
            <a:extLst>
              <a:ext uri="{FF2B5EF4-FFF2-40B4-BE49-F238E27FC236}">
                <a16:creationId xmlns:a16="http://schemas.microsoft.com/office/drawing/2014/main" id="{55854DE9-2CFB-45C4-8325-43FF1AE76EBD}"/>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6053470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Mellansida Rubrik 3">
    <p:spTree>
      <p:nvGrpSpPr>
        <p:cNvPr id="1" name=""/>
        <p:cNvGrpSpPr/>
        <p:nvPr/>
      </p:nvGrpSpPr>
      <p:grpSpPr>
        <a:xfrm>
          <a:off x="0" y="0"/>
          <a:ext cx="0" cy="0"/>
          <a:chOff x="0" y="0"/>
          <a:chExt cx="0" cy="0"/>
        </a:xfrm>
      </p:grpSpPr>
      <p:pic>
        <p:nvPicPr>
          <p:cNvPr id="5" name="Bildobjekt 4" descr="En bild som visar gräs&#10;&#10;Automatiskt genererad beskrivning">
            <a:extLst>
              <a:ext uri="{FF2B5EF4-FFF2-40B4-BE49-F238E27FC236}">
                <a16:creationId xmlns:a16="http://schemas.microsoft.com/office/drawing/2014/main" id="{658C782C-89B4-254C-A0A9-6C93B1645FE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74303639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Only" preserve="1">
  <p:cSld name="Mellansida Rubrik 4">
    <p:spTree>
      <p:nvGrpSpPr>
        <p:cNvPr id="1" name=""/>
        <p:cNvGrpSpPr/>
        <p:nvPr/>
      </p:nvGrpSpPr>
      <p:grpSpPr>
        <a:xfrm>
          <a:off x="0" y="0"/>
          <a:ext cx="0" cy="0"/>
          <a:chOff x="0" y="0"/>
          <a:chExt cx="0" cy="0"/>
        </a:xfrm>
      </p:grpSpPr>
      <p:pic>
        <p:nvPicPr>
          <p:cNvPr id="6" name="Bildobjekt 5" descr="En bild som visar träd, utomhus, gräs, skog&#10;&#10;Automatiskt genererad beskrivning">
            <a:extLst>
              <a:ext uri="{FF2B5EF4-FFF2-40B4-BE49-F238E27FC236}">
                <a16:creationId xmlns:a16="http://schemas.microsoft.com/office/drawing/2014/main" id="{2065AC02-8907-0B41-A36A-ADB110B29B3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93143915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titleOnly" preserve="1">
  <p:cSld name="Mellansida Rubrik 5">
    <p:spTree>
      <p:nvGrpSpPr>
        <p:cNvPr id="1" name=""/>
        <p:cNvGrpSpPr/>
        <p:nvPr/>
      </p:nvGrpSpPr>
      <p:grpSpPr>
        <a:xfrm>
          <a:off x="0" y="0"/>
          <a:ext cx="0" cy="0"/>
          <a:chOff x="0" y="0"/>
          <a:chExt cx="0" cy="0"/>
        </a:xfrm>
      </p:grpSpPr>
      <p:pic>
        <p:nvPicPr>
          <p:cNvPr id="5" name="Bildobjekt 4" descr="En bild som visar utomhus, snö, stående, person&#10;&#10;Automatiskt genererad beskrivning">
            <a:extLst>
              <a:ext uri="{FF2B5EF4-FFF2-40B4-BE49-F238E27FC236}">
                <a16:creationId xmlns:a16="http://schemas.microsoft.com/office/drawing/2014/main" id="{EDA43F72-F58B-4A42-A6FA-37B1057F675F}"/>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428066596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titleOnly" preserve="1">
  <p:cSld name="Mellansida Rubrik 6">
    <p:spTree>
      <p:nvGrpSpPr>
        <p:cNvPr id="1" name=""/>
        <p:cNvGrpSpPr/>
        <p:nvPr/>
      </p:nvGrpSpPr>
      <p:grpSpPr>
        <a:xfrm>
          <a:off x="0" y="0"/>
          <a:ext cx="0" cy="0"/>
          <a:chOff x="0" y="0"/>
          <a:chExt cx="0" cy="0"/>
        </a:xfrm>
      </p:grpSpPr>
      <p:pic>
        <p:nvPicPr>
          <p:cNvPr id="5" name="Bildobjekt 4" descr="En bild som visar träd, utomhus, transport, av trä&#10;&#10;Automatiskt genererad beskrivning">
            <a:extLst>
              <a:ext uri="{FF2B5EF4-FFF2-40B4-BE49-F238E27FC236}">
                <a16:creationId xmlns:a16="http://schemas.microsoft.com/office/drawing/2014/main" id="{9068025E-6855-214E-880C-F7376AE82D5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8089054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itleOnly" preserve="1">
  <p:cSld name="1_Mellansida Rubrik 6">
    <p:spTree>
      <p:nvGrpSpPr>
        <p:cNvPr id="1" name=""/>
        <p:cNvGrpSpPr/>
        <p:nvPr/>
      </p:nvGrpSpPr>
      <p:grpSpPr>
        <a:xfrm>
          <a:off x="0" y="0"/>
          <a:ext cx="0" cy="0"/>
          <a:chOff x="0" y="0"/>
          <a:chExt cx="0" cy="0"/>
        </a:xfrm>
      </p:grpSpPr>
      <p:pic>
        <p:nvPicPr>
          <p:cNvPr id="6" name="Bildobjekt 5" descr="En bild som visar träd, utomhus, växt, skog&#10;&#10;Automatiskt genererad beskrivning">
            <a:extLst>
              <a:ext uri="{FF2B5EF4-FFF2-40B4-BE49-F238E27FC236}">
                <a16:creationId xmlns:a16="http://schemas.microsoft.com/office/drawing/2014/main" id="{DD08B0C4-8633-7041-A346-C1115B476BB6}"/>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25406023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Mellansida Rubrik 2 vinter">
    <p:spTree>
      <p:nvGrpSpPr>
        <p:cNvPr id="1" name=""/>
        <p:cNvGrpSpPr/>
        <p:nvPr/>
      </p:nvGrpSpPr>
      <p:grpSpPr>
        <a:xfrm>
          <a:off x="0" y="0"/>
          <a:ext cx="0" cy="0"/>
          <a:chOff x="0" y="0"/>
          <a:chExt cx="0" cy="0"/>
        </a:xfrm>
      </p:grpSpPr>
      <p:pic>
        <p:nvPicPr>
          <p:cNvPr id="8" name="Bildobjekt 7">
            <a:extLst>
              <a:ext uri="{FF2B5EF4-FFF2-40B4-BE49-F238E27FC236}">
                <a16:creationId xmlns:a16="http://schemas.microsoft.com/office/drawing/2014/main" id="{CCCBB8AC-2B37-F50A-184A-6B4687A88070}"/>
              </a:ext>
            </a:extLst>
          </p:cNvPr>
          <p:cNvPicPr>
            <a:picLocks noGrp="1" noRot="1" noChangeAspect="1" noMove="1" noResize="1" noEditPoints="1" noAdjustHandles="1" noChangeArrowheads="1" noChangeShapeType="1" noCrop="1"/>
          </p:cNvPicPr>
          <p:nvPr userDrawn="1"/>
        </p:nvPicPr>
        <p:blipFill>
          <a:blip r:embed="rId2"/>
          <a:srcRect/>
          <a:stretch/>
        </p:blipFill>
        <p:spPr>
          <a:xfrm>
            <a:off x="13497" y="0"/>
            <a:ext cx="12192000" cy="6858000"/>
          </a:xfrm>
          <a:prstGeom prst="rect">
            <a:avLst/>
          </a:prstGeom>
        </p:spPr>
      </p:pic>
      <p:sp>
        <p:nvSpPr>
          <p:cNvPr id="9" name="Platshållare för text 17">
            <a:extLst>
              <a:ext uri="{FF2B5EF4-FFF2-40B4-BE49-F238E27FC236}">
                <a16:creationId xmlns:a16="http://schemas.microsoft.com/office/drawing/2014/main" id="{5481A0A9-8F9B-8184-3B17-8B347D0A3CF6}"/>
              </a:ext>
            </a:extLst>
          </p:cNvPr>
          <p:cNvSpPr>
            <a:spLocks noGrp="1"/>
          </p:cNvSpPr>
          <p:nvPr>
            <p:ph type="body" sz="quarter" idx="10" hasCustomPrompt="1"/>
          </p:nvPr>
        </p:nvSpPr>
        <p:spPr>
          <a:xfrm>
            <a:off x="838199" y="4117068"/>
            <a:ext cx="8452757" cy="1559990"/>
          </a:xfrm>
          <a:effectLst>
            <a:outerShdw blurRad="50800" dist="38100" dir="2700000" algn="tl" rotWithShape="0">
              <a:prstClr val="black">
                <a:alpha val="40000"/>
              </a:prstClr>
            </a:outerShdw>
          </a:effectLst>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2" name="Bildobjekt 1">
            <a:extLst>
              <a:ext uri="{FF2B5EF4-FFF2-40B4-BE49-F238E27FC236}">
                <a16:creationId xmlns:a16="http://schemas.microsoft.com/office/drawing/2014/main" id="{E22CB45F-D926-C224-A0E0-4B275A47CF6B}"/>
              </a:ext>
            </a:extLst>
          </p:cNvPr>
          <p:cNvPicPr>
            <a:picLocks noChangeAspect="1"/>
          </p:cNvPicPr>
          <p:nvPr userDrawn="1"/>
        </p:nvPicPr>
        <p:blipFill>
          <a:blip r:embed="rId3"/>
          <a:srcRect/>
          <a:stretch/>
        </p:blipFill>
        <p:spPr>
          <a:xfrm>
            <a:off x="11353800" y="310256"/>
            <a:ext cx="532356" cy="525617"/>
          </a:xfrm>
          <a:prstGeom prst="rect">
            <a:avLst/>
          </a:prstGeom>
          <a:effectLst>
            <a:outerShdw blurRad="76200" dist="12700" dir="2700000" algn="tl" rotWithShape="0">
              <a:prstClr val="black">
                <a:alpha val="30000"/>
              </a:prstClr>
            </a:outerShdw>
          </a:effectLst>
        </p:spPr>
      </p:pic>
      <p:sp>
        <p:nvSpPr>
          <p:cNvPr id="4" name="Platshållare för text 2">
            <a:extLst>
              <a:ext uri="{FF2B5EF4-FFF2-40B4-BE49-F238E27FC236}">
                <a16:creationId xmlns:a16="http://schemas.microsoft.com/office/drawing/2014/main" id="{E21B7258-64A6-013E-D032-2538B5F271CE}"/>
              </a:ext>
            </a:extLst>
          </p:cNvPr>
          <p:cNvSpPr>
            <a:spLocks noGrp="1"/>
          </p:cNvSpPr>
          <p:nvPr>
            <p:ph type="body" sz="quarter" idx="11" hasCustomPrompt="1"/>
          </p:nvPr>
        </p:nvSpPr>
        <p:spPr>
          <a:xfrm>
            <a:off x="838200" y="5676900"/>
            <a:ext cx="5257800" cy="657225"/>
          </a:xfrm>
        </p:spPr>
        <p:txBody>
          <a:bodyPr/>
          <a:lstStyle>
            <a:lvl1pPr marL="0" indent="0">
              <a:buNone/>
              <a:defRPr>
                <a:solidFill>
                  <a:schemeClr val="bg1"/>
                </a:solidFill>
              </a:defRPr>
            </a:lvl1pPr>
            <a:lvl2pPr marL="0" indent="0">
              <a:buNone/>
              <a:defRPr sz="16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stStyle>
          <a:p>
            <a:pPr lvl="1"/>
            <a:r>
              <a:rPr lang="sv-SE"/>
              <a:t>2024-XX-XX</a:t>
            </a:r>
          </a:p>
        </p:txBody>
      </p:sp>
      <p:cxnSp>
        <p:nvCxnSpPr>
          <p:cNvPr id="3" name="Rak koppling 2">
            <a:extLst>
              <a:ext uri="{FF2B5EF4-FFF2-40B4-BE49-F238E27FC236}">
                <a16:creationId xmlns:a16="http://schemas.microsoft.com/office/drawing/2014/main" id="{14CEF659-CEE2-EC83-9AB4-A6F7547FC4A8}"/>
              </a:ext>
            </a:extLst>
          </p:cNvPr>
          <p:cNvCxnSpPr/>
          <p:nvPr userDrawn="1"/>
        </p:nvCxnSpPr>
        <p:spPr>
          <a:xfrm>
            <a:off x="730292" y="2595369"/>
            <a:ext cx="0" cy="1325563"/>
          </a:xfrm>
          <a:prstGeom prst="line">
            <a:avLst/>
          </a:prstGeom>
          <a:ln w="28575">
            <a:solidFill>
              <a:schemeClr val="bg1"/>
            </a:solidFill>
          </a:ln>
        </p:spPr>
        <p:style>
          <a:lnRef idx="1">
            <a:schemeClr val="accent1"/>
          </a:lnRef>
          <a:fillRef idx="0">
            <a:schemeClr val="accent1"/>
          </a:fillRef>
          <a:effectRef idx="0">
            <a:schemeClr val="accent1"/>
          </a:effectRef>
          <a:fontRef idx="minor">
            <a:schemeClr val="tx1"/>
          </a:fontRef>
        </p:style>
      </p:cxnSp>
      <p:sp>
        <p:nvSpPr>
          <p:cNvPr id="5" name="Rubrik 1">
            <a:extLst>
              <a:ext uri="{FF2B5EF4-FFF2-40B4-BE49-F238E27FC236}">
                <a16:creationId xmlns:a16="http://schemas.microsoft.com/office/drawing/2014/main" id="{71EDD543-4201-AAFE-FFCE-1F95976B6820}"/>
              </a:ext>
            </a:extLst>
          </p:cNvPr>
          <p:cNvSpPr>
            <a:spLocks noGrp="1"/>
          </p:cNvSpPr>
          <p:nvPr>
            <p:ph type="title" hasCustomPrompt="1"/>
          </p:nvPr>
        </p:nvSpPr>
        <p:spPr>
          <a:xfrm>
            <a:off x="838200" y="2595369"/>
            <a:ext cx="8452756" cy="1325563"/>
          </a:xfrm>
        </p:spPr>
        <p:txBody>
          <a:bodyPr anchor="t"/>
          <a:lstStyle>
            <a:lvl1pPr>
              <a:defRPr b="0" i="0" spc="-80" baseline="0">
                <a:solidFill>
                  <a:schemeClr val="bg1">
                    <a:lumMod val="95000"/>
                  </a:schemeClr>
                </a:solidFill>
                <a:effectLst>
                  <a:outerShdw blurRad="50800" dist="38100" dir="2700000" algn="tl" rotWithShape="0">
                    <a:prstClr val="black">
                      <a:alpha val="65000"/>
                    </a:prst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Tree>
    <p:extLst>
      <p:ext uri="{BB962C8B-B14F-4D97-AF65-F5344CB8AC3E}">
        <p14:creationId xmlns:p14="http://schemas.microsoft.com/office/powerpoint/2010/main" val="54858481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2_Mellansida Rubrik 6">
    <p:spTree>
      <p:nvGrpSpPr>
        <p:cNvPr id="1" name=""/>
        <p:cNvGrpSpPr/>
        <p:nvPr/>
      </p:nvGrpSpPr>
      <p:grpSpPr>
        <a:xfrm>
          <a:off x="0" y="0"/>
          <a:ext cx="0" cy="0"/>
          <a:chOff x="0" y="0"/>
          <a:chExt cx="0" cy="0"/>
        </a:xfrm>
      </p:grpSpPr>
      <p:pic>
        <p:nvPicPr>
          <p:cNvPr id="5" name="Bildobjekt 4" descr="En bild som visar bit, choklad, nära&#10;&#10;Automatiskt genererad beskrivning">
            <a:extLst>
              <a:ext uri="{FF2B5EF4-FFF2-40B4-BE49-F238E27FC236}">
                <a16:creationId xmlns:a16="http://schemas.microsoft.com/office/drawing/2014/main" id="{5219BA8A-737E-7A40-BC15-66400703B67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24184694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3_Mellansida Rubrik 6">
    <p:spTree>
      <p:nvGrpSpPr>
        <p:cNvPr id="1" name=""/>
        <p:cNvGrpSpPr/>
        <p:nvPr/>
      </p:nvGrpSpPr>
      <p:grpSpPr>
        <a:xfrm>
          <a:off x="0" y="0"/>
          <a:ext cx="0" cy="0"/>
          <a:chOff x="0" y="0"/>
          <a:chExt cx="0" cy="0"/>
        </a:xfrm>
      </p:grpSpPr>
      <p:pic>
        <p:nvPicPr>
          <p:cNvPr id="6" name="Bildobjekt 5" descr="En bild som visar tårta, leksak, födelsedag&#10;&#10;Automatiskt genererad beskrivning">
            <a:extLst>
              <a:ext uri="{FF2B5EF4-FFF2-40B4-BE49-F238E27FC236}">
                <a16:creationId xmlns:a16="http://schemas.microsoft.com/office/drawing/2014/main" id="{2F1CB311-7921-1D45-B6AC-44CA93726D1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441549698"/>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Rubrik och punktlista">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5536883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Rubrik och brödtex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29886493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11_Rubrik och punktlista">
    <p:bg>
      <p:bgPr>
        <a:solidFill>
          <a:srgbClr val="DFDCD8"/>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AE373ED7-365C-4324-8A54-F8822D97EEB4}"/>
              </a:ext>
            </a:extLst>
          </p:cNvPr>
          <p:cNvPicPr>
            <a:picLocks noChangeAspect="1"/>
          </p:cNvPicPr>
          <p:nvPr userDrawn="1"/>
        </p:nvPicPr>
        <p:blipFill>
          <a:blip r:embed="rId2"/>
          <a:stretch>
            <a:fillRect/>
          </a:stretch>
        </p:blipFill>
        <p:spPr>
          <a:xfrm>
            <a:off x="11317288" y="296863"/>
            <a:ext cx="539631" cy="532800"/>
          </a:xfrm>
          <a:prstGeom prst="rect">
            <a:avLst/>
          </a:prstGeom>
        </p:spPr>
      </p:pic>
      <p:sp>
        <p:nvSpPr>
          <p:cNvPr id="5" name="Rubrik 1">
            <a:extLst>
              <a:ext uri="{FF2B5EF4-FFF2-40B4-BE49-F238E27FC236}">
                <a16:creationId xmlns:a16="http://schemas.microsoft.com/office/drawing/2014/main" id="{EED67C67-F8DF-482E-96DD-3E08F44A409C}"/>
              </a:ext>
            </a:extLst>
          </p:cNvPr>
          <p:cNvSpPr>
            <a:spLocks noGrp="1"/>
          </p:cNvSpPr>
          <p:nvPr>
            <p:ph type="title" hasCustomPrompt="1"/>
          </p:nvPr>
        </p:nvSpPr>
        <p:spPr>
          <a:xfrm>
            <a:off x="838200" y="2595369"/>
            <a:ext cx="6439422" cy="1325563"/>
          </a:xfrm>
        </p:spPr>
        <p:txBody>
          <a:bodyPr anchor="t"/>
          <a:lstStyle>
            <a:lvl1pPr>
              <a:defRPr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E37F559B-BA39-40A8-A8E2-FD864868AD6C}"/>
              </a:ext>
            </a:extLst>
          </p:cNvPr>
          <p:cNvSpPr>
            <a:spLocks noGrp="1"/>
          </p:cNvSpPr>
          <p:nvPr>
            <p:ph type="body" sz="quarter" idx="10" hasCustomPrompt="1"/>
          </p:nvPr>
        </p:nvSpPr>
        <p:spPr>
          <a:xfrm>
            <a:off x="838199" y="4117068"/>
            <a:ext cx="8452757" cy="1559990"/>
          </a:xfrm>
        </p:spPr>
        <p:txBody>
          <a:bodyPr/>
          <a:lstStyle>
            <a:lvl1pPr>
              <a:buFontTx/>
              <a:buNone/>
              <a:defRPr>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128670283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45.xml><?xml version="1.0" encoding="utf-8"?>
<p:sldLayout xmlns:a="http://schemas.openxmlformats.org/drawingml/2006/main" xmlns:r="http://schemas.openxmlformats.org/officeDocument/2006/relationships" xmlns:p="http://schemas.openxmlformats.org/presentationml/2006/main" type="obj" preserve="1">
  <p:cSld name="1_Rubrik och punktlista">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01101794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obj" preserve="1">
  <p:cSld name="1_Rubrik och brödtext">
    <p:bg>
      <p:bgPr>
        <a:solidFill>
          <a:srgbClr val="0F0F0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lstStyle>
            <a:lvl1pPr marL="4763" indent="0">
              <a:lnSpc>
                <a:spcPct val="130000"/>
              </a:lnSpc>
              <a:spcAft>
                <a:spcPts val="1200"/>
              </a:spcAft>
              <a:buFont typeface="Arial" panose="020B0604020202020204" pitchFamily="34" charset="0"/>
              <a:buNone/>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9" name="Bildobjekt 8">
            <a:extLst>
              <a:ext uri="{FF2B5EF4-FFF2-40B4-BE49-F238E27FC236}">
                <a16:creationId xmlns:a16="http://schemas.microsoft.com/office/drawing/2014/main" id="{50759673-9500-5648-AEDB-11338B257BA5}"/>
              </a:ext>
            </a:extLst>
          </p:cNvPr>
          <p:cNvPicPr>
            <a:picLocks noChangeAspect="1"/>
          </p:cNvPicPr>
          <p:nvPr userDrawn="1"/>
        </p:nvPicPr>
        <p:blipFill>
          <a:blip r:embed="rId2"/>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43561177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20_Rubrik och punktlista">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1214761772"/>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type="obj" preserve="1">
  <p:cSld name="2_Rubrik och punktlista">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713412661"/>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28_Rubrik och punktlista skog">
    <p:bg>
      <p:bgPr>
        <a:solidFill>
          <a:srgbClr val="1F6575"/>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4455CA7D-5F1E-47A7-A16A-DA19D8CA7E0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3030E92-01DB-4B95-8CB7-C4A02C831281}"/>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8" name="Bildobjekt 7" descr="En bild som visar text, träd, utomhus, natur&#10;&#10;Automatiskt genererad beskrivning">
            <a:extLst>
              <a:ext uri="{FF2B5EF4-FFF2-40B4-BE49-F238E27FC236}">
                <a16:creationId xmlns:a16="http://schemas.microsoft.com/office/drawing/2014/main" id="{A96232E9-F9E3-4F98-94D0-77E4C9D89C88}"/>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218165405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0_Rubriksida mål och fokus grön bakgrund sko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083FF4CA-70AC-47A8-A306-987D5991B9CB}"/>
              </a:ext>
            </a:extLst>
          </p:cNvPr>
          <p:cNvPicPr>
            <a:picLocks noGrp="1" noRot="1" noChangeAspect="1" noMove="1" noResize="1" noEditPoints="1" noAdjustHandles="1" noChangeArrowheads="1" noChangeShapeType="1" noCrop="1"/>
          </p:cNvPicPr>
          <p:nvPr userDrawn="1"/>
        </p:nvPicPr>
        <p:blipFill>
          <a:blip r:embed="rId2"/>
          <a:srcRect/>
          <a:stretch/>
        </p:blipFill>
        <p:spPr>
          <a:xfrm>
            <a:off x="1" y="0"/>
            <a:ext cx="12191999" cy="6857999"/>
          </a:xfrm>
          <a:prstGeom prst="rect">
            <a:avLst/>
          </a:prstGeom>
        </p:spPr>
      </p:pic>
      <p:sp>
        <p:nvSpPr>
          <p:cNvPr id="17" name="Rubrik 1">
            <a:extLst>
              <a:ext uri="{FF2B5EF4-FFF2-40B4-BE49-F238E27FC236}">
                <a16:creationId xmlns:a16="http://schemas.microsoft.com/office/drawing/2014/main" id="{02A3D141-830F-724B-3B4B-6BE83C520FAF}"/>
              </a:ext>
            </a:extLst>
          </p:cNvPr>
          <p:cNvSpPr>
            <a:spLocks noGrp="1"/>
          </p:cNvSpPr>
          <p:nvPr>
            <p:ph type="title" hasCustomPrompt="1"/>
          </p:nvPr>
        </p:nvSpPr>
        <p:spPr>
          <a:xfrm>
            <a:off x="838200" y="2595369"/>
            <a:ext cx="8452756" cy="1325563"/>
          </a:xfrm>
        </p:spPr>
        <p:txBody>
          <a:bodyPr anchor="t"/>
          <a:lstStyle>
            <a:lvl1pPr>
              <a:defRPr b="0" i="0" spc="-80" baseline="0">
                <a:solidFill>
                  <a:schemeClr val="bg1">
                    <a:lumMod val="95000"/>
                  </a:schemeClr>
                </a:solidFill>
                <a:effectLst>
                  <a:outerShdw blurRad="50800" dist="38100" dir="2700000" algn="tl" rotWithShape="0">
                    <a:prstClr val="black">
                      <a:alpha val="65000"/>
                    </a:prstClr>
                  </a:outerShdw>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18" name="Platshållare för text 17">
            <a:extLst>
              <a:ext uri="{FF2B5EF4-FFF2-40B4-BE49-F238E27FC236}">
                <a16:creationId xmlns:a16="http://schemas.microsoft.com/office/drawing/2014/main" id="{2F7022C9-9C51-9AAE-6810-CAB96C81DB00}"/>
              </a:ext>
            </a:extLst>
          </p:cNvPr>
          <p:cNvSpPr>
            <a:spLocks noGrp="1"/>
          </p:cNvSpPr>
          <p:nvPr>
            <p:ph type="body" sz="quarter" idx="10" hasCustomPrompt="1"/>
          </p:nvPr>
        </p:nvSpPr>
        <p:spPr>
          <a:xfrm>
            <a:off x="838199" y="4117068"/>
            <a:ext cx="8452757" cy="1559990"/>
          </a:xfrm>
        </p:spPr>
        <p:txBody>
          <a:bodyPr/>
          <a:lstStyle>
            <a:lvl1pPr>
              <a:buFontTx/>
              <a:buNone/>
              <a:defRPr sz="28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2" name="Bildobjekt 1">
            <a:extLst>
              <a:ext uri="{FF2B5EF4-FFF2-40B4-BE49-F238E27FC236}">
                <a16:creationId xmlns:a16="http://schemas.microsoft.com/office/drawing/2014/main" id="{34373F92-E5E3-A968-0D1E-3A3C7C7AEBB3}"/>
              </a:ext>
            </a:extLst>
          </p:cNvPr>
          <p:cNvPicPr>
            <a:picLocks noChangeAspect="1"/>
          </p:cNvPicPr>
          <p:nvPr userDrawn="1"/>
        </p:nvPicPr>
        <p:blipFill>
          <a:blip r:embed="rId3"/>
          <a:srcRect/>
          <a:stretch/>
        </p:blipFill>
        <p:spPr>
          <a:xfrm>
            <a:off x="11353800" y="310256"/>
            <a:ext cx="532356" cy="525617"/>
          </a:xfrm>
          <a:prstGeom prst="rect">
            <a:avLst/>
          </a:prstGeom>
        </p:spPr>
      </p:pic>
      <p:sp>
        <p:nvSpPr>
          <p:cNvPr id="4" name="Platshållare för text 2">
            <a:extLst>
              <a:ext uri="{FF2B5EF4-FFF2-40B4-BE49-F238E27FC236}">
                <a16:creationId xmlns:a16="http://schemas.microsoft.com/office/drawing/2014/main" id="{7D2595B0-39E5-5F40-B97F-1F86BA03E547}"/>
              </a:ext>
            </a:extLst>
          </p:cNvPr>
          <p:cNvSpPr>
            <a:spLocks noGrp="1"/>
          </p:cNvSpPr>
          <p:nvPr>
            <p:ph type="body" sz="quarter" idx="11" hasCustomPrompt="1"/>
          </p:nvPr>
        </p:nvSpPr>
        <p:spPr>
          <a:xfrm>
            <a:off x="838200" y="5676900"/>
            <a:ext cx="5257800" cy="657225"/>
          </a:xfrm>
        </p:spPr>
        <p:txBody>
          <a:bodyPr/>
          <a:lstStyle>
            <a:lvl1pPr marL="0" indent="0">
              <a:buNone/>
              <a:defRPr>
                <a:solidFill>
                  <a:schemeClr val="bg1"/>
                </a:solidFill>
              </a:defRPr>
            </a:lvl1pPr>
            <a:lvl2pPr marL="0" indent="0">
              <a:buNone/>
              <a:defRPr sz="160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stStyle>
          <a:p>
            <a:pPr lvl="1"/>
            <a:r>
              <a:rPr lang="sv-SE"/>
              <a:t>2024-XX-XX</a:t>
            </a:r>
          </a:p>
        </p:txBody>
      </p:sp>
    </p:spTree>
    <p:extLst>
      <p:ext uri="{BB962C8B-B14F-4D97-AF65-F5344CB8AC3E}">
        <p14:creationId xmlns:p14="http://schemas.microsoft.com/office/powerpoint/2010/main" val="13923570"/>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27_Rubrik och punktlista skog">
    <p:bg>
      <p:bgPr>
        <a:solidFill>
          <a:srgbClr val="1F6575"/>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descr="En bild som visar text, träd, utomhus, natur&#10;&#10;Automatiskt genererad beskrivning">
            <a:extLst>
              <a:ext uri="{FF2B5EF4-FFF2-40B4-BE49-F238E27FC236}">
                <a16:creationId xmlns:a16="http://schemas.microsoft.com/office/drawing/2014/main" id="{A959F5E3-4393-4ED4-9630-CA956E0373C6}"/>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4213117198"/>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6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Tree>
    <p:extLst>
      <p:ext uri="{BB962C8B-B14F-4D97-AF65-F5344CB8AC3E}">
        <p14:creationId xmlns:p14="http://schemas.microsoft.com/office/powerpoint/2010/main" val="3208807784"/>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type="obj" preserve="1">
  <p:cSld name="4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4151383400"/>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23_Rubrik och punktlista">
    <p:bg>
      <p:bgPr>
        <a:solidFill>
          <a:srgbClr val="007B4F"/>
        </a:solidFill>
        <a:effectLst/>
      </p:bgPr>
    </p:bg>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2"/>
          <a:stretch>
            <a:fillRect/>
          </a:stretch>
        </p:blipFill>
        <p:spPr>
          <a:xfrm>
            <a:off x="11317288" y="306859"/>
            <a:ext cx="539631" cy="532800"/>
          </a:xfrm>
          <a:prstGeom prst="rect">
            <a:avLst/>
          </a:prstGeom>
        </p:spPr>
      </p:pic>
      <p:sp>
        <p:nvSpPr>
          <p:cNvPr id="6" name="Rubrik 1">
            <a:extLst>
              <a:ext uri="{FF2B5EF4-FFF2-40B4-BE49-F238E27FC236}">
                <a16:creationId xmlns:a16="http://schemas.microsoft.com/office/drawing/2014/main" id="{635A18FD-F9DB-4EF3-900E-AB3E825F52A1}"/>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7" name="Platshållare för text 17">
            <a:extLst>
              <a:ext uri="{FF2B5EF4-FFF2-40B4-BE49-F238E27FC236}">
                <a16:creationId xmlns:a16="http://schemas.microsoft.com/office/drawing/2014/main" id="{7861597B-4C3A-4E44-BB94-8E312EBCEB6E}"/>
              </a:ext>
            </a:extLst>
          </p:cNvPr>
          <p:cNvSpPr>
            <a:spLocks noGrp="1"/>
          </p:cNvSpPr>
          <p:nvPr>
            <p:ph type="body" sz="quarter" idx="10" hasCustomPrompt="1"/>
          </p:nvPr>
        </p:nvSpPr>
        <p:spPr>
          <a:xfrm>
            <a:off x="838199" y="4117068"/>
            <a:ext cx="8452757" cy="1559990"/>
          </a:xfrm>
        </p:spPr>
        <p:txBody>
          <a:bodyPr/>
          <a:lstStyle>
            <a:lvl1pPr>
              <a:buFontTx/>
              <a:buNone/>
              <a:defRPr>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pic>
        <p:nvPicPr>
          <p:cNvPr id="3" name="Bildobjekt 2" descr="En bild som visar text, växt, natthimmel&#10;&#10;Automatiskt genererad beskrivning">
            <a:extLst>
              <a:ext uri="{FF2B5EF4-FFF2-40B4-BE49-F238E27FC236}">
                <a16:creationId xmlns:a16="http://schemas.microsoft.com/office/drawing/2014/main" id="{F6EB22F1-56EB-427F-9F7D-8BD801DCC993}"/>
              </a:ext>
            </a:extLst>
          </p:cNvPr>
          <p:cNvPicPr>
            <a:picLocks noChangeAspect="1"/>
          </p:cNvPicPr>
          <p:nvPr userDrawn="1"/>
        </p:nvPicPr>
        <p:blipFill rotWithShape="1">
          <a:blip r:embed="rId3" cstate="email">
            <a:alphaModFix amt="20000"/>
            <a:extLst>
              <a:ext uri="{28A0092B-C50C-407E-A947-70E740481C1C}">
                <a14:useLocalDpi xmlns:a14="http://schemas.microsoft.com/office/drawing/2010/main"/>
              </a:ext>
            </a:extLst>
          </a:blip>
          <a:srcRect/>
          <a:stretch/>
        </p:blipFill>
        <p:spPr>
          <a:xfrm>
            <a:off x="0" y="3810613"/>
            <a:ext cx="12192000" cy="3047388"/>
          </a:xfrm>
          <a:prstGeom prst="rect">
            <a:avLst/>
          </a:prstGeom>
        </p:spPr>
      </p:pic>
    </p:spTree>
    <p:extLst>
      <p:ext uri="{BB962C8B-B14F-4D97-AF65-F5344CB8AC3E}">
        <p14:creationId xmlns:p14="http://schemas.microsoft.com/office/powerpoint/2010/main" val="2857951072"/>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4.xml><?xml version="1.0" encoding="utf-8"?>
<p:sldLayout xmlns:a="http://schemas.openxmlformats.org/drawingml/2006/main" xmlns:r="http://schemas.openxmlformats.org/officeDocument/2006/relationships" xmlns:p="http://schemas.openxmlformats.org/presentationml/2006/main" type="obj" preserve="1">
  <p:cSld name="22_Rubrik och punktlista">
    <p:bg>
      <p:bgPr>
        <a:solidFill>
          <a:srgbClr val="007B4F"/>
        </a:solidFill>
        <a:effectLst/>
      </p:bgPr>
    </p:b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CB50E3FE-E99C-4304-95DC-9D1AE2AE8561}"/>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6" name="Bildobjekt 5" descr="En bild som visar text, växt, natthimmel&#10;&#10;Automatiskt genererad beskrivning">
            <a:extLst>
              <a:ext uri="{FF2B5EF4-FFF2-40B4-BE49-F238E27FC236}">
                <a16:creationId xmlns:a16="http://schemas.microsoft.com/office/drawing/2014/main" id="{608C5B33-718D-40E8-9021-6F58AE46CB7E}"/>
              </a:ext>
            </a:extLst>
          </p:cNvPr>
          <p:cNvPicPr>
            <a:picLocks noChangeAspect="1"/>
          </p:cNvPicPr>
          <p:nvPr userDrawn="1"/>
        </p:nvPicPr>
        <p:blipFill rotWithShape="1">
          <a:blip r:embed="rId4" cstate="email">
            <a:alphaModFix amt="20000"/>
            <a:extLst>
              <a:ext uri="{28A0092B-C50C-407E-A947-70E740481C1C}">
                <a14:useLocalDpi xmlns:a14="http://schemas.microsoft.com/office/drawing/2010/main"/>
              </a:ext>
            </a:extLst>
          </a:blip>
          <a:srcRect/>
          <a:stretch/>
        </p:blipFill>
        <p:spPr>
          <a:xfrm>
            <a:off x="0" y="3821763"/>
            <a:ext cx="12192000" cy="3036237"/>
          </a:xfrm>
          <a:prstGeom prst="rect">
            <a:avLst/>
          </a:prstGeom>
        </p:spPr>
      </p:pic>
    </p:spTree>
    <p:extLst>
      <p:ext uri="{BB962C8B-B14F-4D97-AF65-F5344CB8AC3E}">
        <p14:creationId xmlns:p14="http://schemas.microsoft.com/office/powerpoint/2010/main" val="4245171337"/>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55.xml><?xml version="1.0" encoding="utf-8"?>
<p:sldLayout xmlns:a="http://schemas.openxmlformats.org/drawingml/2006/main" xmlns:r="http://schemas.openxmlformats.org/officeDocument/2006/relationships" xmlns:p="http://schemas.openxmlformats.org/presentationml/2006/main" type="titleOnly" preserve="1">
  <p:cSld name="1_Mellansida Rubrik 1">
    <p:spTree>
      <p:nvGrpSpPr>
        <p:cNvPr id="1" name=""/>
        <p:cNvGrpSpPr/>
        <p:nvPr/>
      </p:nvGrpSpPr>
      <p:grpSpPr>
        <a:xfrm>
          <a:off x="0" y="0"/>
          <a:ext cx="0" cy="0"/>
          <a:chOff x="0" y="0"/>
          <a:chExt cx="0" cy="0"/>
        </a:xfrm>
      </p:grpSpPr>
      <p:pic>
        <p:nvPicPr>
          <p:cNvPr id="5" name="Bildobjekt 4" descr="En bild som visar utomhus, himmel, föremål utomhus, rad&#10;&#10;Automatiskt genererad beskrivning">
            <a:extLst>
              <a:ext uri="{FF2B5EF4-FFF2-40B4-BE49-F238E27FC236}">
                <a16:creationId xmlns:a16="http://schemas.microsoft.com/office/drawing/2014/main" id="{CB8BBDA1-C9D2-E048-A654-0B56C6A04F1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10515600"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8" name="Bildobjekt 7">
            <a:extLst>
              <a:ext uri="{FF2B5EF4-FFF2-40B4-BE49-F238E27FC236}">
                <a16:creationId xmlns:a16="http://schemas.microsoft.com/office/drawing/2014/main" id="{1A506F4A-FEB1-3448-8FB5-208E45A78918}"/>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457801766"/>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itleOnly" preserve="1">
  <p:cSld name="1_Mellansida Rubrik 4">
    <p:spTree>
      <p:nvGrpSpPr>
        <p:cNvPr id="1" name=""/>
        <p:cNvGrpSpPr/>
        <p:nvPr/>
      </p:nvGrpSpPr>
      <p:grpSpPr>
        <a:xfrm>
          <a:off x="0" y="0"/>
          <a:ext cx="0" cy="0"/>
          <a:chOff x="0" y="0"/>
          <a:chExt cx="0" cy="0"/>
        </a:xfrm>
      </p:grpSpPr>
      <p:pic>
        <p:nvPicPr>
          <p:cNvPr id="5" name="Bildobjekt 4" descr="En bild som visar träd, utomhus, skog, växt&#10;&#10;Automatiskt genererad beskrivning">
            <a:extLst>
              <a:ext uri="{FF2B5EF4-FFF2-40B4-BE49-F238E27FC236}">
                <a16:creationId xmlns:a16="http://schemas.microsoft.com/office/drawing/2014/main" id="{2C9D44E2-6AB2-3847-8709-32933A20EBEE}"/>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5577468"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632338757"/>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itleOnly" preserve="1">
  <p:cSld name="4_Mellansida Rubrik 6">
    <p:spTree>
      <p:nvGrpSpPr>
        <p:cNvPr id="1" name=""/>
        <p:cNvGrpSpPr/>
        <p:nvPr/>
      </p:nvGrpSpPr>
      <p:grpSpPr>
        <a:xfrm>
          <a:off x="0" y="0"/>
          <a:ext cx="0" cy="0"/>
          <a:chOff x="0" y="0"/>
          <a:chExt cx="0" cy="0"/>
        </a:xfrm>
      </p:grpSpPr>
      <p:pic>
        <p:nvPicPr>
          <p:cNvPr id="6" name="Bildobjekt 5" descr="En bild som visar träd, utomhus, transport, skog&#10;&#10;Automatiskt genererad beskrivning">
            <a:extLst>
              <a:ext uri="{FF2B5EF4-FFF2-40B4-BE49-F238E27FC236}">
                <a16:creationId xmlns:a16="http://schemas.microsoft.com/office/drawing/2014/main" id="{583E969E-2309-714E-8EC1-B47605F58C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3732812012"/>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itleOnly" preserve="1">
  <p:cSld name="5_Mellansida Rubrik 6">
    <p:spTree>
      <p:nvGrpSpPr>
        <p:cNvPr id="1" name=""/>
        <p:cNvGrpSpPr/>
        <p:nvPr/>
      </p:nvGrpSpPr>
      <p:grpSpPr>
        <a:xfrm>
          <a:off x="0" y="0"/>
          <a:ext cx="0" cy="0"/>
          <a:chOff x="0" y="0"/>
          <a:chExt cx="0" cy="0"/>
        </a:xfrm>
      </p:grpSpPr>
      <p:pic>
        <p:nvPicPr>
          <p:cNvPr id="5" name="Bildobjekt 4" descr="En bild som visar träd, utomhus, skog, trä&#10;&#10;Automatiskt genererad beskrivning">
            <a:extLst>
              <a:ext uri="{FF2B5EF4-FFF2-40B4-BE49-F238E27FC236}">
                <a16:creationId xmlns:a16="http://schemas.microsoft.com/office/drawing/2014/main" id="{FE204568-3E71-624C-B70D-14E2EC452654}"/>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114516953"/>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itleOnly" preserve="1">
  <p:cSld name="6_Mellansida Rubrik 6">
    <p:spTree>
      <p:nvGrpSpPr>
        <p:cNvPr id="1" name=""/>
        <p:cNvGrpSpPr/>
        <p:nvPr/>
      </p:nvGrpSpPr>
      <p:grpSpPr>
        <a:xfrm>
          <a:off x="0" y="0"/>
          <a:ext cx="0" cy="0"/>
          <a:chOff x="0" y="0"/>
          <a:chExt cx="0" cy="0"/>
        </a:xfrm>
      </p:grpSpPr>
      <p:pic>
        <p:nvPicPr>
          <p:cNvPr id="6" name="Bildobjekt 5" descr="En bild som visar utomhus, gräs, träd, växt&#10;&#10;Automatiskt genererad beskrivning">
            <a:extLst>
              <a:ext uri="{FF2B5EF4-FFF2-40B4-BE49-F238E27FC236}">
                <a16:creationId xmlns:a16="http://schemas.microsoft.com/office/drawing/2014/main" id="{DE5F308A-4224-664E-AC74-19DE6F9619D0}"/>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F8C46A87-C63F-6C48-AF9A-DD61C95D50AE}"/>
              </a:ext>
            </a:extLst>
          </p:cNvPr>
          <p:cNvSpPr>
            <a:spLocks noGrp="1"/>
          </p:cNvSpPr>
          <p:nvPr>
            <p:ph type="title" hasCustomPrompt="1"/>
          </p:nvPr>
        </p:nvSpPr>
        <p:spPr>
          <a:xfrm>
            <a:off x="838200" y="2595369"/>
            <a:ext cx="6439422" cy="1325563"/>
          </a:xfrm>
        </p:spPr>
        <p:txBody>
          <a:bodyPr anchor="t"/>
          <a:lstStyle>
            <a:lvl1pPr>
              <a:defRPr b="1" i="0" spc="-80" baseline="0">
                <a:solidFill>
                  <a:schemeClr val="bg1">
                    <a:lumMod val="95000"/>
                  </a:schemeClr>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rubrik</a:t>
            </a:r>
          </a:p>
        </p:txBody>
      </p:sp>
      <p:pic>
        <p:nvPicPr>
          <p:cNvPr id="4" name="Bildobjekt 3">
            <a:extLst>
              <a:ext uri="{FF2B5EF4-FFF2-40B4-BE49-F238E27FC236}">
                <a16:creationId xmlns:a16="http://schemas.microsoft.com/office/drawing/2014/main" id="{D50FB88B-01F3-9A44-B0C5-25865009D030}"/>
              </a:ext>
            </a:extLst>
          </p:cNvPr>
          <p:cNvPicPr>
            <a:picLocks noChangeAspect="1"/>
          </p:cNvPicPr>
          <p:nvPr userDrawn="1"/>
        </p:nvPicPr>
        <p:blipFill>
          <a:blip r:embed="rId3"/>
          <a:stretch>
            <a:fillRect/>
          </a:stretch>
        </p:blipFill>
        <p:spPr>
          <a:xfrm>
            <a:off x="11353800" y="306887"/>
            <a:ext cx="532356" cy="532356"/>
          </a:xfrm>
          <a:prstGeom prst="rect">
            <a:avLst/>
          </a:prstGeom>
        </p:spPr>
      </p:pic>
    </p:spTree>
    <p:extLst>
      <p:ext uri="{BB962C8B-B14F-4D97-AF65-F5344CB8AC3E}">
        <p14:creationId xmlns:p14="http://schemas.microsoft.com/office/powerpoint/2010/main" val="261491711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Rubrikbild">
    <p:spTree>
      <p:nvGrpSpPr>
        <p:cNvPr id="1" name=""/>
        <p:cNvGrpSpPr/>
        <p:nvPr/>
      </p:nvGrpSpPr>
      <p:grpSpPr>
        <a:xfrm>
          <a:off x="0" y="0"/>
          <a:ext cx="0" cy="0"/>
          <a:chOff x="0" y="0"/>
          <a:chExt cx="0" cy="0"/>
        </a:xfrm>
      </p:grpSpPr>
      <p:sp>
        <p:nvSpPr>
          <p:cNvPr id="4" name="Rubrik 1">
            <a:extLst>
              <a:ext uri="{FF2B5EF4-FFF2-40B4-BE49-F238E27FC236}">
                <a16:creationId xmlns:a16="http://schemas.microsoft.com/office/drawing/2014/main" id="{7689CEE0-9387-B8F6-FCA8-5644724FB9DB}"/>
              </a:ext>
            </a:extLst>
          </p:cNvPr>
          <p:cNvSpPr>
            <a:spLocks noGrp="1"/>
          </p:cNvSpPr>
          <p:nvPr>
            <p:ph type="title" hasCustomPrompt="1"/>
          </p:nvPr>
        </p:nvSpPr>
        <p:spPr>
          <a:xfrm>
            <a:off x="838200" y="2595369"/>
            <a:ext cx="8452756" cy="1325563"/>
          </a:xfrm>
          <a:effectLst/>
        </p:spPr>
        <p:txBody>
          <a:bodyPr anchor="t"/>
          <a:lstStyle>
            <a:lvl1pPr>
              <a:defRPr b="0" i="0" spc="-80" baseline="0">
                <a:solidFill>
                  <a:schemeClr val="tx1"/>
                </a:solidFill>
                <a:effectLst/>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EN KORT RUBRIK</a:t>
            </a:r>
          </a:p>
        </p:txBody>
      </p:sp>
      <p:sp>
        <p:nvSpPr>
          <p:cNvPr id="5" name="Platshållare för text 17">
            <a:extLst>
              <a:ext uri="{FF2B5EF4-FFF2-40B4-BE49-F238E27FC236}">
                <a16:creationId xmlns:a16="http://schemas.microsoft.com/office/drawing/2014/main" id="{8D9007C7-5967-EA4E-AB56-25E300772C18}"/>
              </a:ext>
            </a:extLst>
          </p:cNvPr>
          <p:cNvSpPr>
            <a:spLocks noGrp="1"/>
          </p:cNvSpPr>
          <p:nvPr>
            <p:ph type="body" sz="quarter" idx="10" hasCustomPrompt="1"/>
          </p:nvPr>
        </p:nvSpPr>
        <p:spPr>
          <a:xfrm>
            <a:off x="838199" y="4117068"/>
            <a:ext cx="8452757" cy="1559990"/>
          </a:xfrm>
          <a:effectLst/>
        </p:spPr>
        <p:txBody>
          <a:bodyPr/>
          <a:lstStyle>
            <a:lvl1pPr>
              <a:buFontTx/>
              <a:buNone/>
              <a:defRPr sz="2800">
                <a:solidFill>
                  <a:schemeClr val="tx1"/>
                </a:solidFill>
                <a:effectLst/>
                <a:latin typeface="Open Sans" panose="020B0606030504020204" pitchFamily="34" charset="0"/>
                <a:ea typeface="Open Sans" panose="020B0606030504020204" pitchFamily="34" charset="0"/>
                <a:cs typeface="Open Sans" panose="020B0606030504020204" pitchFamily="34" charset="0"/>
              </a:defRPr>
            </a:lvl1pPr>
            <a:lvl5pPr>
              <a:buNone/>
              <a:defRPr/>
            </a:lvl5pPr>
          </a:lstStyle>
          <a:p>
            <a:pPr lvl="0"/>
            <a:r>
              <a:rPr lang="sv-SE"/>
              <a:t>Klicka här för att skriva en underrubrik</a:t>
            </a:r>
          </a:p>
        </p:txBody>
      </p:sp>
      <p:sp>
        <p:nvSpPr>
          <p:cNvPr id="6" name="Platshållare för text 5">
            <a:extLst>
              <a:ext uri="{FF2B5EF4-FFF2-40B4-BE49-F238E27FC236}">
                <a16:creationId xmlns:a16="http://schemas.microsoft.com/office/drawing/2014/main" id="{BD4A02E4-9841-3229-0FFB-870F0006AED2}"/>
              </a:ext>
            </a:extLst>
          </p:cNvPr>
          <p:cNvSpPr>
            <a:spLocks noGrp="1"/>
          </p:cNvSpPr>
          <p:nvPr>
            <p:ph type="body" sz="quarter" idx="11" hasCustomPrompt="1"/>
          </p:nvPr>
        </p:nvSpPr>
        <p:spPr>
          <a:xfrm>
            <a:off x="838200" y="5693277"/>
            <a:ext cx="4634852" cy="577850"/>
          </a:xfrm>
          <a:effectLst/>
        </p:spPr>
        <p:txBody>
          <a:bodyPr>
            <a:normAutofit/>
          </a:bodyPr>
          <a:lstStyle>
            <a:lvl1pPr marL="0" indent="0">
              <a:buFontTx/>
              <a:buNone/>
              <a:defRPr/>
            </a:lvl1pPr>
            <a:lvl5pPr marL="0" indent="0" algn="l">
              <a:buNone/>
              <a:defRPr sz="1600">
                <a:solidFill>
                  <a:schemeClr val="tx1"/>
                </a:solidFill>
                <a:effectLst/>
                <a:latin typeface="Noto Serif" panose="02020600060500020200" pitchFamily="18" charset="0"/>
                <a:ea typeface="Noto Serif" panose="02020600060500020200" pitchFamily="18" charset="0"/>
                <a:cs typeface="Noto Serif" panose="02020600060500020200" pitchFamily="18" charset="0"/>
              </a:defRPr>
            </a:lvl5pPr>
          </a:lstStyle>
          <a:p>
            <a:pPr lvl="4"/>
            <a:r>
              <a:rPr lang="sv-SE">
                <a:latin typeface="Noto Serif" panose="02020600060500020200" pitchFamily="18" charset="0"/>
                <a:ea typeface="Noto Serif" panose="02020600060500020200" pitchFamily="18" charset="0"/>
                <a:cs typeface="Noto Serif" panose="02020600060500020200" pitchFamily="18" charset="0"/>
              </a:rPr>
              <a:t>2024-XX-XX</a:t>
            </a:r>
            <a:endParaRPr lang="sv-SE"/>
          </a:p>
        </p:txBody>
      </p:sp>
      <p:pic>
        <p:nvPicPr>
          <p:cNvPr id="2" name="Bildobjekt 1">
            <a:extLst>
              <a:ext uri="{FF2B5EF4-FFF2-40B4-BE49-F238E27FC236}">
                <a16:creationId xmlns:a16="http://schemas.microsoft.com/office/drawing/2014/main" id="{05BEB19C-8076-E447-3B55-15E464C3E8E3}"/>
              </a:ext>
            </a:extLst>
          </p:cNvPr>
          <p:cNvPicPr>
            <a:picLocks noChangeAspect="1"/>
          </p:cNvPicPr>
          <p:nvPr userDrawn="1"/>
        </p:nvPicPr>
        <p:blipFill>
          <a:blip r:embed="rId2"/>
          <a:srcRect/>
          <a:stretch/>
        </p:blipFill>
        <p:spPr>
          <a:xfrm>
            <a:off x="11353800" y="310256"/>
            <a:ext cx="532355" cy="525617"/>
          </a:xfrm>
          <a:prstGeom prst="rect">
            <a:avLst/>
          </a:prstGeom>
        </p:spPr>
      </p:pic>
    </p:spTree>
    <p:extLst>
      <p:ext uri="{BB962C8B-B14F-4D97-AF65-F5344CB8AC3E}">
        <p14:creationId xmlns:p14="http://schemas.microsoft.com/office/powerpoint/2010/main" val="4261327305"/>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6_Rubriksida mål och fokus skog ljung">
    <p:spTree>
      <p:nvGrpSpPr>
        <p:cNvPr id="1" name=""/>
        <p:cNvGrpSpPr/>
        <p:nvPr/>
      </p:nvGrpSpPr>
      <p:grpSpPr>
        <a:xfrm>
          <a:off x="0" y="0"/>
          <a:ext cx="0" cy="0"/>
          <a:chOff x="0" y="0"/>
          <a:chExt cx="0" cy="0"/>
        </a:xfrm>
      </p:grpSpPr>
      <p:pic>
        <p:nvPicPr>
          <p:cNvPr id="2" name="Bildobjekt 1" descr="En bild som visar text, växt, natthimmel&#10;&#10;Automatiskt genererad beskrivning">
            <a:extLst>
              <a:ext uri="{FF2B5EF4-FFF2-40B4-BE49-F238E27FC236}">
                <a16:creationId xmlns:a16="http://schemas.microsoft.com/office/drawing/2014/main" id="{ED4AF340-8D86-7791-AD7D-652282C9E56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4212833753"/>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obj" preserve="1">
  <p:cSld name="20_Rubrik och punktlista skog ljung">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växt, natthimmel&#10;&#10;Automatiskt genererad beskrivning">
            <a:extLst>
              <a:ext uri="{FF2B5EF4-FFF2-40B4-BE49-F238E27FC236}">
                <a16:creationId xmlns:a16="http://schemas.microsoft.com/office/drawing/2014/main" id="{74C213AF-6C3D-43A3-A57B-830BEB5811E3}"/>
              </a:ext>
            </a:extLst>
          </p:cNvPr>
          <p:cNvPicPr>
            <a:picLocks noChangeAspect="1"/>
          </p:cNvPicPr>
          <p:nvPr userDrawn="1"/>
        </p:nvPicPr>
        <p:blipFill rotWithShape="1">
          <a:blip r:embed="rId4"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Tree>
    <p:extLst>
      <p:ext uri="{BB962C8B-B14F-4D97-AF65-F5344CB8AC3E}">
        <p14:creationId xmlns:p14="http://schemas.microsoft.com/office/powerpoint/2010/main" val="1457788159"/>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obj" preserve="1">
  <p:cSld name="4_Rubrik och brödtext liten textruta skog ljung">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rotWithShape="1">
          <a:blip r:embed="rId2" cstate="email">
            <a:alphaModFix amt="15000"/>
            <a:duotone>
              <a:prstClr val="black"/>
              <a:schemeClr val="accent5">
                <a:tint val="45000"/>
                <a:satMod val="400000"/>
              </a:schemeClr>
            </a:duotone>
            <a:extLst>
              <a:ext uri="{28A0092B-C50C-407E-A947-70E740481C1C}">
                <a14:useLocalDpi xmlns:a14="http://schemas.microsoft.com/office/drawing/2010/main"/>
              </a:ext>
            </a:extLst>
          </a:blip>
          <a:srcRect/>
          <a:stretch/>
        </p:blipFill>
        <p:spPr>
          <a:xfrm>
            <a:off x="0" y="3836857"/>
            <a:ext cx="12192000" cy="3021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24962724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5_Rubriksida mål och fokus skog grön">
    <p:spTree>
      <p:nvGrpSpPr>
        <p:cNvPr id="1" name=""/>
        <p:cNvGrpSpPr/>
        <p:nvPr/>
      </p:nvGrpSpPr>
      <p:grpSpPr>
        <a:xfrm>
          <a:off x="0" y="0"/>
          <a:ext cx="0" cy="0"/>
          <a:chOff x="0" y="0"/>
          <a:chExt cx="0" cy="0"/>
        </a:xfrm>
      </p:grpSpPr>
      <p:pic>
        <p:nvPicPr>
          <p:cNvPr id="4" name="Bildobjekt 3" descr="En bild som visar text, växt, natthimmel&#10;&#10;Automatiskt genererad beskrivning">
            <a:extLst>
              <a:ext uri="{FF2B5EF4-FFF2-40B4-BE49-F238E27FC236}">
                <a16:creationId xmlns:a16="http://schemas.microsoft.com/office/drawing/2014/main" id="{61119EC1-EAE9-4FF6-8300-3884E9383155}"/>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99139655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28_Rubrik och text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0F636A2D-8C25-4F6A-90B1-56A1F5D75C83}"/>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6"/>
            <a:ext cx="10515600" cy="4123482"/>
          </a:xfrm>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81517704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3_Rubrik och brödtext liten textruta skog grön">
    <p:spTree>
      <p:nvGrpSpPr>
        <p:cNvPr id="1" name=""/>
        <p:cNvGrpSpPr/>
        <p:nvPr/>
      </p:nvGrpSpPr>
      <p:grpSpPr>
        <a:xfrm>
          <a:off x="0" y="0"/>
          <a:ext cx="0" cy="0"/>
          <a:chOff x="0" y="0"/>
          <a:chExt cx="0" cy="0"/>
        </a:xfrm>
      </p:grpSpPr>
      <p:pic>
        <p:nvPicPr>
          <p:cNvPr id="5" name="Bildobjekt 4" descr="En bild som visar text, växt, natthimmel&#10;&#10;Automatiskt genererad beskrivning">
            <a:extLst>
              <a:ext uri="{FF2B5EF4-FFF2-40B4-BE49-F238E27FC236}">
                <a16:creationId xmlns:a16="http://schemas.microsoft.com/office/drawing/2014/main" id="{8687B7DF-24F8-4FCC-8CF5-01FAFB97641E}"/>
              </a:ext>
            </a:extLst>
          </p:cNvPr>
          <p:cNvPicPr>
            <a:picLocks noChangeAspect="1"/>
          </p:cNvPicPr>
          <p:nvPr userDrawn="1"/>
        </p:nvPicPr>
        <p:blipFill>
          <a:blip r:embed="rId2" cstate="email">
            <a:alphaModFix amt="15000"/>
            <a:extLst>
              <a:ext uri="{28A0092B-C50C-407E-A947-70E740481C1C}">
                <a14:useLocalDpi xmlns:a14="http://schemas.microsoft.com/office/drawing/2010/main"/>
              </a:ext>
            </a:extLst>
          </a:blip>
          <a:stretch>
            <a:fillRect/>
          </a:stretch>
        </p:blipFill>
        <p:spPr>
          <a:xfrm>
            <a:off x="0" y="3836857"/>
            <a:ext cx="12192000" cy="3103143"/>
          </a:xfrm>
          <a:prstGeom prst="rect">
            <a:avLst/>
          </a:prstGeom>
          <a:effectLst/>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022891385"/>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17_Rubriksida mål och fokus skog blå">
    <p:spTree>
      <p:nvGrpSpPr>
        <p:cNvPr id="1" name=""/>
        <p:cNvGrpSpPr/>
        <p:nvPr/>
      </p:nvGrpSpPr>
      <p:grpSpPr>
        <a:xfrm>
          <a:off x="0" y="0"/>
          <a:ext cx="0" cy="0"/>
          <a:chOff x="0" y="0"/>
          <a:chExt cx="0" cy="0"/>
        </a:xfrm>
      </p:grpSpPr>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2"/>
          <a:stretch>
            <a:fillRect/>
          </a:stretch>
        </p:blipFill>
        <p:spPr>
          <a:xfrm>
            <a:off x="11317288" y="306859"/>
            <a:ext cx="539631" cy="532800"/>
          </a:xfrm>
          <a:prstGeom prst="rect">
            <a:avLst/>
          </a:prstGeom>
        </p:spPr>
      </p:pic>
      <p:pic>
        <p:nvPicPr>
          <p:cNvPr id="8" name="Bildobjekt 7">
            <a:extLst>
              <a:ext uri="{FF2B5EF4-FFF2-40B4-BE49-F238E27FC236}">
                <a16:creationId xmlns:a16="http://schemas.microsoft.com/office/drawing/2014/main" id="{ABA4F4CE-E9D4-44F7-BBC7-2A1E00A60782}"/>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11" name="Bildobjekt 10" descr="En bild som visar text, träd, utomhus, natur&#10;&#10;Automatiskt genererad beskrivning">
            <a:extLst>
              <a:ext uri="{FF2B5EF4-FFF2-40B4-BE49-F238E27FC236}">
                <a16:creationId xmlns:a16="http://schemas.microsoft.com/office/drawing/2014/main" id="{271A51A6-0CC7-4C24-B019-85A592794107}"/>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1928672890"/>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24_Rubrik och punktlista skog blå">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3"/>
          <a:stretch>
            <a:fillRect/>
          </a:stretch>
        </p:blipFill>
        <p:spPr>
          <a:xfrm>
            <a:off x="11317288" y="296863"/>
            <a:ext cx="539631" cy="532800"/>
          </a:xfrm>
          <a:prstGeom prst="rect">
            <a:avLst/>
          </a:prstGeom>
        </p:spPr>
      </p:pic>
      <p:pic>
        <p:nvPicPr>
          <p:cNvPr id="7" name="Bildobjekt 6" descr="En bild som visar text, träd, utomhus, natur&#10;&#10;Automatiskt genererad beskrivning">
            <a:extLst>
              <a:ext uri="{FF2B5EF4-FFF2-40B4-BE49-F238E27FC236}">
                <a16:creationId xmlns:a16="http://schemas.microsoft.com/office/drawing/2014/main" id="{BE2BA5EE-D5BB-406C-93B0-CA8F887936EF}"/>
              </a:ext>
            </a:extLst>
          </p:cNvPr>
          <p:cNvPicPr>
            <a:picLocks noChangeAspect="1"/>
          </p:cNvPicPr>
          <p:nvPr userDrawn="1"/>
        </p:nvPicPr>
        <p:blipFill rotWithShape="1">
          <a:blip r:embed="rId4"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Tree>
    <p:extLst>
      <p:ext uri="{BB962C8B-B14F-4D97-AF65-F5344CB8AC3E}">
        <p14:creationId xmlns:p14="http://schemas.microsoft.com/office/powerpoint/2010/main" val="570985056"/>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type="obj" preserve="1">
  <p:cSld name="5_Rubrik och brödtext liten textruta skog blå">
    <p:spTree>
      <p:nvGrpSpPr>
        <p:cNvPr id="1" name=""/>
        <p:cNvGrpSpPr/>
        <p:nvPr/>
      </p:nvGrpSpPr>
      <p:grpSpPr>
        <a:xfrm>
          <a:off x="0" y="0"/>
          <a:ext cx="0" cy="0"/>
          <a:chOff x="0" y="0"/>
          <a:chExt cx="0" cy="0"/>
        </a:xfrm>
      </p:grpSpPr>
      <p:pic>
        <p:nvPicPr>
          <p:cNvPr id="4" name="Bildobjekt 3" descr="En bild som visar text, träd, utomhus, natur&#10;&#10;Automatiskt genererad beskrivning">
            <a:extLst>
              <a:ext uri="{FF2B5EF4-FFF2-40B4-BE49-F238E27FC236}">
                <a16:creationId xmlns:a16="http://schemas.microsoft.com/office/drawing/2014/main" id="{DD81890C-23DF-6210-0CDB-1E929B94206C}"/>
              </a:ext>
            </a:extLst>
          </p:cNvPr>
          <p:cNvPicPr>
            <a:picLocks noChangeAspect="1"/>
          </p:cNvPicPr>
          <p:nvPr userDrawn="1"/>
        </p:nvPicPr>
        <p:blipFill rotWithShape="1">
          <a:blip r:embed="rId2" cstate="email">
            <a:alphaModFix amt="15000"/>
            <a:extLst>
              <a:ext uri="{28A0092B-C50C-407E-A947-70E740481C1C}">
                <a14:useLocalDpi xmlns:a14="http://schemas.microsoft.com/office/drawing/2010/main"/>
              </a:ext>
            </a:extLst>
          </a:blip>
          <a:srcRect/>
          <a:stretch/>
        </p:blipFill>
        <p:spPr>
          <a:xfrm>
            <a:off x="0" y="3807181"/>
            <a:ext cx="12192000" cy="3050819"/>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6602260" cy="4351338"/>
          </a:xfrm>
        </p:spPr>
        <p:txBody>
          <a:bodyPr>
            <a:noAutofit/>
          </a:bodyPr>
          <a:lstStyle>
            <a:lvl1pPr marL="4763" indent="0">
              <a:lnSpc>
                <a:spcPct val="130000"/>
              </a:lnSpc>
              <a:spcAft>
                <a:spcPts val="1200"/>
              </a:spcAft>
              <a:buFont typeface="Arial" panose="020B0604020202020204" pitchFamily="34" charset="0"/>
              <a:buNone/>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None/>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p:txBody>
      </p:sp>
      <p:pic>
        <p:nvPicPr>
          <p:cNvPr id="6" name="Bildobjekt 5">
            <a:extLst>
              <a:ext uri="{FF2B5EF4-FFF2-40B4-BE49-F238E27FC236}">
                <a16:creationId xmlns:a16="http://schemas.microsoft.com/office/drawing/2014/main" id="{BE81181C-596E-47B7-AB47-7A9AD1F15253}"/>
              </a:ext>
            </a:extLst>
          </p:cNvPr>
          <p:cNvPicPr>
            <a:picLocks noChangeAspect="1"/>
          </p:cNvPicPr>
          <p:nvPr userDrawn="1"/>
        </p:nvPicPr>
        <p:blipFill>
          <a:blip r:embed="rId3"/>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210581923"/>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type="obj" preserve="1">
  <p:cSld name="6_Rubrik och punktlista handsla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44036501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Rubrik och punktlista">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4" name="Bildobjekt 3">
            <a:extLst>
              <a:ext uri="{FF2B5EF4-FFF2-40B4-BE49-F238E27FC236}">
                <a16:creationId xmlns:a16="http://schemas.microsoft.com/office/drawing/2014/main" id="{E66B81C4-C747-6BE0-4ED3-8F3148ACDCCE}"/>
              </a:ext>
            </a:extLst>
          </p:cNvPr>
          <p:cNvPicPr>
            <a:picLocks noChangeAspect="1"/>
          </p:cNvPicPr>
          <p:nvPr userDrawn="1"/>
        </p:nvPicPr>
        <p:blipFill>
          <a:blip r:embed="rId3"/>
          <a:srcRect/>
          <a:stretch/>
        </p:blipFill>
        <p:spPr>
          <a:xfrm>
            <a:off x="11353800" y="310256"/>
            <a:ext cx="532355" cy="525617"/>
          </a:xfrm>
          <a:prstGeom prst="rect">
            <a:avLst/>
          </a:prstGeom>
        </p:spPr>
      </p:pic>
      <p:sp>
        <p:nvSpPr>
          <p:cNvPr id="5" name="Rubrik 1">
            <a:extLst>
              <a:ext uri="{FF2B5EF4-FFF2-40B4-BE49-F238E27FC236}">
                <a16:creationId xmlns:a16="http://schemas.microsoft.com/office/drawing/2014/main" id="{353EEF15-6B80-F0D6-A2B8-79993CB61F90}"/>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6" name="Rak koppling 5">
            <a:extLst>
              <a:ext uri="{FF2B5EF4-FFF2-40B4-BE49-F238E27FC236}">
                <a16:creationId xmlns:a16="http://schemas.microsoft.com/office/drawing/2014/main" id="{4DB2D054-D6C4-B290-DD02-22E422C7FCB2}"/>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71303489"/>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70.xml><?xml version="1.0" encoding="utf-8"?>
<p:sldLayout xmlns:a="http://schemas.openxmlformats.org/drawingml/2006/main" xmlns:r="http://schemas.openxmlformats.org/officeDocument/2006/relationships" xmlns:p="http://schemas.openxmlformats.org/presentationml/2006/main" type="obj" preserve="1">
  <p:cSld name="7_Rubrik och punktlista handslag ljus toning">
    <p:spTree>
      <p:nvGrpSpPr>
        <p:cNvPr id="1" name=""/>
        <p:cNvGrpSpPr/>
        <p:nvPr/>
      </p:nvGrpSpPr>
      <p:grpSpPr>
        <a:xfrm>
          <a:off x="0" y="0"/>
          <a:ext cx="0" cy="0"/>
          <a:chOff x="0" y="0"/>
          <a:chExt cx="0" cy="0"/>
        </a:xfrm>
      </p:grpSpPr>
      <p:pic>
        <p:nvPicPr>
          <p:cNvPr id="5" name="Bildobjekt 4" descr="En bild som visar duva&#10;&#10;Automatiskt genererad beskrivning">
            <a:extLst>
              <a:ext uri="{FF2B5EF4-FFF2-40B4-BE49-F238E27FC236}">
                <a16:creationId xmlns:a16="http://schemas.microsoft.com/office/drawing/2014/main" id="{7B3FEB56-2BD7-4995-8EB3-C8DE7B414547}"/>
              </a:ext>
            </a:extLst>
          </p:cNvPr>
          <p:cNvPicPr>
            <a:picLocks noChangeAspect="1"/>
          </p:cNvPicPr>
          <p:nvPr userDrawn="1"/>
        </p:nvPicPr>
        <p:blipFill>
          <a:blip r:embed="rId2" cstate="email">
            <a:alphaModFix/>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7" name="Rektangel 6">
            <a:extLst>
              <a:ext uri="{FF2B5EF4-FFF2-40B4-BE49-F238E27FC236}">
                <a16:creationId xmlns:a16="http://schemas.microsoft.com/office/drawing/2014/main" id="{45489A8B-6881-414C-AAA8-C5354BC0FB48}"/>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 typeface="Systemtypsnitt normalt"/>
              <a:buChar char="-"/>
              <a:tabLst/>
              <a:defRPr sz="1400" b="0" i="0">
                <a:latin typeface="Open Sans" panose="020B0606030504020204" pitchFamily="34" charset="0"/>
                <a:ea typeface="Open Sans" panose="020B0606030504020204" pitchFamily="34" charset="0"/>
                <a:cs typeface="Open Sans" panose="020B0606030504020204" pitchFamily="34"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033371083"/>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type="obj" preserve="1">
  <p:cSld name="14_Rubrik och punktlista blå bakgrund pussel">
    <p:bg>
      <p:bgPr>
        <a:solidFill>
          <a:srgbClr val="1F6575"/>
        </a:solidFill>
        <a:effectLst/>
      </p:bgPr>
    </p:bg>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B23E3302-CC64-4EF7-B17C-763660685579}"/>
              </a:ext>
            </a:extLst>
          </p:cNvPr>
          <p:cNvPicPr>
            <a:picLocks noChangeAspect="1"/>
          </p:cNvPicPr>
          <p:nvPr userDrawn="1"/>
        </p:nvPicPr>
        <p:blipFill>
          <a:blip r:embed="rId2" cstate="email">
            <a:alphaModFix amt="10000"/>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solidFill>
                  <a:schemeClr val="bg1"/>
                </a:solidFill>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5AD521E9-41BB-4C45-8FB4-7F302EDF2552}"/>
              </a:ext>
            </a:extLst>
          </p:cNvPr>
          <p:cNvPicPr>
            <a:picLocks noChangeAspect="1"/>
          </p:cNvPicPr>
          <p:nvPr userDrawn="1"/>
        </p:nvPicPr>
        <p:blipFill>
          <a:blip r:embed="rId4"/>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821313466"/>
      </p:ext>
    </p:extLst>
  </p:cSld>
  <p:clrMapOvr>
    <a:masterClrMapping/>
  </p:clrMapOvr>
  <p:extLst>
    <p:ext uri="{DCECCB84-F9BA-43D5-87BE-67443E8EF086}">
      <p15:sldGuideLst xmlns:p15="http://schemas.microsoft.com/office/powerpoint/2012/main">
        <p15:guide id="1" orient="horz" pos="527">
          <p15:clr>
            <a:srgbClr val="FBAE40"/>
          </p15:clr>
        </p15:guide>
        <p15:guide id="2" pos="7151">
          <p15:clr>
            <a:srgbClr val="FBAE40"/>
          </p15:clr>
        </p15:guide>
      </p15:sldGuideLst>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10_Rubriksida mål och fokus grön bakgrund skog">
    <p:spTree>
      <p:nvGrpSpPr>
        <p:cNvPr id="1" name=""/>
        <p:cNvGrpSpPr/>
        <p:nvPr/>
      </p:nvGrpSpPr>
      <p:grpSpPr>
        <a:xfrm>
          <a:off x="0" y="0"/>
          <a:ext cx="0" cy="0"/>
          <a:chOff x="0" y="0"/>
          <a:chExt cx="0" cy="0"/>
        </a:xfrm>
      </p:grpSpPr>
      <p:pic>
        <p:nvPicPr>
          <p:cNvPr id="3" name="Bildobjekt 2">
            <a:extLst>
              <a:ext uri="{FF2B5EF4-FFF2-40B4-BE49-F238E27FC236}">
                <a16:creationId xmlns:a16="http://schemas.microsoft.com/office/drawing/2014/main" id="{083FF4CA-70AC-47A8-A306-987D5991B9CB}"/>
              </a:ext>
            </a:extLst>
          </p:cNvPr>
          <p:cNvPicPr>
            <a:picLocks noChangeAspect="1"/>
          </p:cNvPicPr>
          <p:nvPr userDrawn="1"/>
        </p:nvPicPr>
        <p:blipFill>
          <a:blip r:embed="rId2" cstate="email">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3789348906"/>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9_Rubriksida mål och fokus blå bakgrund skog">
    <p:spTree>
      <p:nvGrpSpPr>
        <p:cNvPr id="1" name=""/>
        <p:cNvGrpSpPr/>
        <p:nvPr/>
      </p:nvGrpSpPr>
      <p:grpSpPr>
        <a:xfrm>
          <a:off x="0" y="0"/>
          <a:ext cx="0" cy="0"/>
          <a:chOff x="0" y="0"/>
          <a:chExt cx="0" cy="0"/>
        </a:xfrm>
      </p:grpSpPr>
      <p:pic>
        <p:nvPicPr>
          <p:cNvPr id="4" name="Bildobjekt 3" descr="En bild som visar vår, oskärpa, havsbotten&#10;&#10;Automatiskt genererad beskrivning">
            <a:extLst>
              <a:ext uri="{FF2B5EF4-FFF2-40B4-BE49-F238E27FC236}">
                <a16:creationId xmlns:a16="http://schemas.microsoft.com/office/drawing/2014/main" id="{FA705A57-FC75-428A-A2D0-216A038F2F05}"/>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spTree>
    <p:extLst>
      <p:ext uri="{BB962C8B-B14F-4D97-AF65-F5344CB8AC3E}">
        <p14:creationId xmlns:p14="http://schemas.microsoft.com/office/powerpoint/2010/main" val="1885044852"/>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type="obj" preserve="1">
  <p:cSld name="3_Rubrik och punktlista pussel ljus">
    <p:spTree>
      <p:nvGrpSpPr>
        <p:cNvPr id="1" name=""/>
        <p:cNvGrpSpPr/>
        <p:nvPr/>
      </p:nvGrpSpPr>
      <p:grpSpPr>
        <a:xfrm>
          <a:off x="0" y="0"/>
          <a:ext cx="0" cy="0"/>
          <a:chOff x="0" y="0"/>
          <a:chExt cx="0" cy="0"/>
        </a:xfrm>
      </p:grpSpPr>
      <p:pic>
        <p:nvPicPr>
          <p:cNvPr id="5" name="Bildobjekt 4">
            <a:extLst>
              <a:ext uri="{FF2B5EF4-FFF2-40B4-BE49-F238E27FC236}">
                <a16:creationId xmlns:a16="http://schemas.microsoft.com/office/drawing/2014/main" id="{FC7A0564-F709-4FBD-9315-712441A16BD2}"/>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4" name="Rektangel 3">
            <a:extLst>
              <a:ext uri="{FF2B5EF4-FFF2-40B4-BE49-F238E27FC236}">
                <a16:creationId xmlns:a16="http://schemas.microsoft.com/office/drawing/2014/main" id="{341DACD4-61AE-4542-A805-0FDA3E1A7E1F}"/>
              </a:ext>
            </a:extLst>
          </p:cNvPr>
          <p:cNvSpPr/>
          <p:nvPr userDrawn="1"/>
        </p:nvSpPr>
        <p:spPr>
          <a:xfrm>
            <a:off x="0" y="0"/>
            <a:ext cx="12192000" cy="6858000"/>
          </a:xfrm>
          <a:prstGeom prst="rect">
            <a:avLst/>
          </a:prstGeom>
          <a:gradFill>
            <a:gsLst>
              <a:gs pos="0">
                <a:schemeClr val="bg1"/>
              </a:gs>
              <a:gs pos="100000">
                <a:schemeClr val="bg1">
                  <a:alpha val="46000"/>
                </a:schemeClr>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2" name="Rubrik 1">
            <a:extLst>
              <a:ext uri="{FF2B5EF4-FFF2-40B4-BE49-F238E27FC236}">
                <a16:creationId xmlns:a16="http://schemas.microsoft.com/office/drawing/2014/main" id="{379ED7C3-081C-6548-AE82-56E28C914BE5}"/>
              </a:ext>
            </a:extLst>
          </p:cNvPr>
          <p:cNvSpPr>
            <a:spLocks noGrp="1"/>
          </p:cNvSpPr>
          <p:nvPr>
            <p:ph type="title"/>
          </p:nvPr>
        </p:nvSpPr>
        <p:spPr>
          <a:xfrm>
            <a:off x="838200" y="795403"/>
            <a:ext cx="10515600" cy="895285"/>
          </a:xfrm>
        </p:spPr>
        <p:txBody>
          <a:bodyPr anchor="t"/>
          <a:lstStyle>
            <a:lvl1pPr>
              <a:lnSpc>
                <a:spcPct val="100000"/>
              </a:lnSpc>
              <a:defRPr sz="2400" b="1" i="0" spc="-40" baseline="0">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p:txBody>
          <a:bodyPr>
            <a:noAutofit/>
          </a:bodyPr>
          <a:lstStyle>
            <a:lvl1pPr marL="180975" indent="-176213">
              <a:lnSpc>
                <a:spcPct val="130000"/>
              </a:lnSpc>
              <a:spcAft>
                <a:spcPts val="1200"/>
              </a:spcAft>
              <a:buFontTx/>
              <a:buBlip>
                <a:blip r:embed="rId3"/>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3"/>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3706BFC1-7309-4A14-9C77-0E0EF082BCC3}"/>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153252751"/>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8_Rubriksida mål och fokus pussel">
    <p:spTree>
      <p:nvGrpSpPr>
        <p:cNvPr id="1" name=""/>
        <p:cNvGrpSpPr/>
        <p:nvPr/>
      </p:nvGrpSpPr>
      <p:grpSpPr>
        <a:xfrm>
          <a:off x="0" y="0"/>
          <a:ext cx="0" cy="0"/>
          <a:chOff x="0" y="0"/>
          <a:chExt cx="0" cy="0"/>
        </a:xfrm>
      </p:grpSpPr>
      <p:pic>
        <p:nvPicPr>
          <p:cNvPr id="6" name="Bildobjekt 5">
            <a:extLst>
              <a:ext uri="{FF2B5EF4-FFF2-40B4-BE49-F238E27FC236}">
                <a16:creationId xmlns:a16="http://schemas.microsoft.com/office/drawing/2014/main" id="{D84DA6C6-552A-42CE-981A-75BBFEF3C4C3}"/>
              </a:ext>
            </a:extLst>
          </p:cNvPr>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0" y="0"/>
            <a:ext cx="12192000" cy="6858000"/>
          </a:xfrm>
          <a:prstGeom prst="rect">
            <a:avLst/>
          </a:prstGeom>
        </p:spPr>
      </p:pic>
      <p:sp>
        <p:nvSpPr>
          <p:cNvPr id="9" name="Rubrik 1">
            <a:extLst>
              <a:ext uri="{FF2B5EF4-FFF2-40B4-BE49-F238E27FC236}">
                <a16:creationId xmlns:a16="http://schemas.microsoft.com/office/drawing/2014/main" id="{C7F4FCB0-2657-4930-B849-7EEA818B980F}"/>
              </a:ext>
            </a:extLst>
          </p:cNvPr>
          <p:cNvSpPr>
            <a:spLocks noGrp="1"/>
          </p:cNvSpPr>
          <p:nvPr>
            <p:ph type="ctrTitle"/>
          </p:nvPr>
        </p:nvSpPr>
        <p:spPr>
          <a:xfrm>
            <a:off x="1524000" y="2393795"/>
            <a:ext cx="8127304" cy="1116168"/>
          </a:xfrm>
        </p:spPr>
        <p:txBody>
          <a:bodyPr anchor="t"/>
          <a:lstStyle>
            <a:lvl1pPr algn="l">
              <a:defRPr sz="3600" b="1" i="0" spc="-8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sp>
        <p:nvSpPr>
          <p:cNvPr id="10" name="Underrubrik 2">
            <a:extLst>
              <a:ext uri="{FF2B5EF4-FFF2-40B4-BE49-F238E27FC236}">
                <a16:creationId xmlns:a16="http://schemas.microsoft.com/office/drawing/2014/main" id="{210C97D0-28B7-4EDD-8C13-A112BCE5E36F}"/>
              </a:ext>
            </a:extLst>
          </p:cNvPr>
          <p:cNvSpPr>
            <a:spLocks noGrp="1"/>
          </p:cNvSpPr>
          <p:nvPr>
            <p:ph type="subTitle" idx="1"/>
          </p:nvPr>
        </p:nvSpPr>
        <p:spPr>
          <a:xfrm>
            <a:off x="1524000" y="3602038"/>
            <a:ext cx="9144000" cy="1655762"/>
          </a:xfrm>
        </p:spPr>
        <p:txBody>
          <a:bodyPr/>
          <a:lstStyle>
            <a:lvl1pPr marL="0" indent="0" algn="l">
              <a:buNone/>
              <a:defRPr sz="240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sv-SE"/>
              <a:t>Klicka här för att ändra mall för underrubrikformat</a:t>
            </a:r>
          </a:p>
        </p:txBody>
      </p:sp>
      <p:pic>
        <p:nvPicPr>
          <p:cNvPr id="7" name="Bildobjekt 6">
            <a:extLst>
              <a:ext uri="{FF2B5EF4-FFF2-40B4-BE49-F238E27FC236}">
                <a16:creationId xmlns:a16="http://schemas.microsoft.com/office/drawing/2014/main" id="{9F96428B-E4C0-489F-9015-A102761A02F7}"/>
              </a:ext>
            </a:extLst>
          </p:cNvPr>
          <p:cNvPicPr>
            <a:picLocks noChangeAspect="1"/>
          </p:cNvPicPr>
          <p:nvPr userDrawn="1"/>
        </p:nvPicPr>
        <p:blipFill>
          <a:blip r:embed="rId3"/>
          <a:stretch>
            <a:fillRect/>
          </a:stretch>
        </p:blipFill>
        <p:spPr>
          <a:xfrm>
            <a:off x="11317288" y="306859"/>
            <a:ext cx="539631" cy="532800"/>
          </a:xfrm>
          <a:prstGeom prst="rect">
            <a:avLst/>
          </a:prstGeom>
        </p:spPr>
      </p:pic>
      <p:pic>
        <p:nvPicPr>
          <p:cNvPr id="2" name="Bildobjekt 1">
            <a:extLst>
              <a:ext uri="{FF2B5EF4-FFF2-40B4-BE49-F238E27FC236}">
                <a16:creationId xmlns:a16="http://schemas.microsoft.com/office/drawing/2014/main" id="{1DB32E4F-3972-5F7B-998D-769AFCE30746}"/>
              </a:ext>
            </a:extLst>
          </p:cNvPr>
          <p:cNvPicPr>
            <a:picLocks noChangeAspect="1"/>
          </p:cNvPicPr>
          <p:nvPr userDrawn="1"/>
        </p:nvPicPr>
        <p:blipFill>
          <a:blip r:embed="rId4"/>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2448296318"/>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Anpassad layout">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A090DBE3-5934-F94B-117D-41850CA8A6E3}"/>
              </a:ext>
            </a:extLst>
          </p:cNvPr>
          <p:cNvSpPr>
            <a:spLocks noGrp="1"/>
          </p:cNvSpPr>
          <p:nvPr>
            <p:ph type="title"/>
          </p:nvPr>
        </p:nvSpPr>
        <p:spPr/>
        <p:txBody>
          <a:bodyPr>
            <a:normAutofit/>
          </a:bodyPr>
          <a:lstStyle>
            <a:lvl1pPr>
              <a:defRPr sz="2400" b="1">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ändra mall för rubrikformat</a:t>
            </a:r>
          </a:p>
        </p:txBody>
      </p:sp>
      <p:pic>
        <p:nvPicPr>
          <p:cNvPr id="6" name="Bildobjekt 5">
            <a:extLst>
              <a:ext uri="{FF2B5EF4-FFF2-40B4-BE49-F238E27FC236}">
                <a16:creationId xmlns:a16="http://schemas.microsoft.com/office/drawing/2014/main" id="{CEA471F8-9AF6-BEB1-F4BD-5217A41672E9}"/>
              </a:ext>
            </a:extLst>
          </p:cNvPr>
          <p:cNvPicPr>
            <a:picLocks noChangeAspect="1"/>
          </p:cNvPicPr>
          <p:nvPr userDrawn="1"/>
        </p:nvPicPr>
        <p:blipFill>
          <a:blip r:embed="rId2"/>
          <a:stretch>
            <a:fillRect/>
          </a:stretch>
        </p:blipFill>
        <p:spPr>
          <a:xfrm>
            <a:off x="11317288" y="296863"/>
            <a:ext cx="539631" cy="532800"/>
          </a:xfrm>
          <a:prstGeom prst="rect">
            <a:avLst/>
          </a:prstGeom>
        </p:spPr>
      </p:pic>
    </p:spTree>
    <p:extLst>
      <p:ext uri="{BB962C8B-B14F-4D97-AF65-F5344CB8AC3E}">
        <p14:creationId xmlns:p14="http://schemas.microsoft.com/office/powerpoint/2010/main" val="32188627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3_Rubrik och punktlista 2 kolumn">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50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4" name="Platshållare för innehåll 2">
            <a:extLst>
              <a:ext uri="{FF2B5EF4-FFF2-40B4-BE49-F238E27FC236}">
                <a16:creationId xmlns:a16="http://schemas.microsoft.com/office/drawing/2014/main" id="{429490CA-7327-04C5-91F4-390AD0B90BFC}"/>
              </a:ext>
            </a:extLst>
          </p:cNvPr>
          <p:cNvSpPr>
            <a:spLocks noGrp="1"/>
          </p:cNvSpPr>
          <p:nvPr>
            <p:ph idx="10"/>
          </p:nvPr>
        </p:nvSpPr>
        <p:spPr>
          <a:xfrm>
            <a:off x="6053418" y="1825625"/>
            <a:ext cx="50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5" name="Bildobjekt 4">
            <a:extLst>
              <a:ext uri="{FF2B5EF4-FFF2-40B4-BE49-F238E27FC236}">
                <a16:creationId xmlns:a16="http://schemas.microsoft.com/office/drawing/2014/main" id="{6F83402F-3258-5AC8-567B-2F6B7162825A}"/>
              </a:ext>
            </a:extLst>
          </p:cNvPr>
          <p:cNvPicPr>
            <a:picLocks noChangeAspect="1"/>
          </p:cNvPicPr>
          <p:nvPr userDrawn="1"/>
        </p:nvPicPr>
        <p:blipFill>
          <a:blip r:embed="rId3"/>
          <a:srcRect/>
          <a:stretch/>
        </p:blipFill>
        <p:spPr>
          <a:xfrm>
            <a:off x="11353800" y="310256"/>
            <a:ext cx="532355" cy="525617"/>
          </a:xfrm>
          <a:prstGeom prst="rect">
            <a:avLst/>
          </a:prstGeom>
        </p:spPr>
      </p:pic>
      <p:sp>
        <p:nvSpPr>
          <p:cNvPr id="6" name="Rubrik 1">
            <a:extLst>
              <a:ext uri="{FF2B5EF4-FFF2-40B4-BE49-F238E27FC236}">
                <a16:creationId xmlns:a16="http://schemas.microsoft.com/office/drawing/2014/main" id="{E515C141-72AB-5493-E81E-E80B79411724}"/>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7" name="Rak koppling 6">
            <a:extLst>
              <a:ext uri="{FF2B5EF4-FFF2-40B4-BE49-F238E27FC236}">
                <a16:creationId xmlns:a16="http://schemas.microsoft.com/office/drawing/2014/main" id="{206714A9-CCB1-44A3-0401-7F1D89C7A7A6}"/>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81126586"/>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4_Rubrik och punktlista 3 kolumn">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37E05BB6-85B6-484C-8141-09C90B0B5C78}"/>
              </a:ext>
            </a:extLst>
          </p:cNvPr>
          <p:cNvSpPr>
            <a:spLocks noGrp="1"/>
          </p:cNvSpPr>
          <p:nvPr>
            <p:ph idx="1"/>
          </p:nvPr>
        </p:nvSpPr>
        <p:spPr>
          <a:xfrm>
            <a:off x="838200"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4" name="Platshållare för innehåll 2">
            <a:extLst>
              <a:ext uri="{FF2B5EF4-FFF2-40B4-BE49-F238E27FC236}">
                <a16:creationId xmlns:a16="http://schemas.microsoft.com/office/drawing/2014/main" id="{429490CA-7327-04C5-91F4-390AD0B90BFC}"/>
              </a:ext>
            </a:extLst>
          </p:cNvPr>
          <p:cNvSpPr>
            <a:spLocks noGrp="1"/>
          </p:cNvSpPr>
          <p:nvPr>
            <p:ph idx="10"/>
          </p:nvPr>
        </p:nvSpPr>
        <p:spPr>
          <a:xfrm>
            <a:off x="4433418"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sp>
        <p:nvSpPr>
          <p:cNvPr id="5" name="Platshållare för innehåll 2">
            <a:extLst>
              <a:ext uri="{FF2B5EF4-FFF2-40B4-BE49-F238E27FC236}">
                <a16:creationId xmlns:a16="http://schemas.microsoft.com/office/drawing/2014/main" id="{DF7A6822-1AB2-A8CC-8386-BA88A2657954}"/>
              </a:ext>
            </a:extLst>
          </p:cNvPr>
          <p:cNvSpPr>
            <a:spLocks noGrp="1"/>
          </p:cNvSpPr>
          <p:nvPr>
            <p:ph idx="11"/>
          </p:nvPr>
        </p:nvSpPr>
        <p:spPr>
          <a:xfrm>
            <a:off x="8028636" y="1825625"/>
            <a:ext cx="3240000" cy="4351338"/>
          </a:xfrm>
        </p:spPr>
        <p:txBody>
          <a:bodyPr/>
          <a:lstStyle>
            <a:lvl1pPr marL="180975" indent="-176213">
              <a:lnSpc>
                <a:spcPct val="130000"/>
              </a:lnSpc>
              <a:spcAft>
                <a:spcPts val="1200"/>
              </a:spcAft>
              <a:buFontTx/>
              <a:buBlip>
                <a:blip r:embed="rId2"/>
              </a:buBlip>
              <a:tabLst/>
              <a:defRPr sz="1600" b="0" i="0">
                <a:latin typeface="Noto Serif" panose="02020600060500020200" pitchFamily="18" charset="0"/>
                <a:ea typeface="Noto Serif" panose="02020600060500020200" pitchFamily="18" charset="0"/>
                <a:cs typeface="Noto Serif" panose="02020600060500020200" pitchFamily="18" charset="0"/>
              </a:defRPr>
            </a:lvl1pPr>
            <a:lvl2pPr marL="355600" indent="-174625">
              <a:lnSpc>
                <a:spcPct val="110000"/>
              </a:lnSpc>
              <a:spcAft>
                <a:spcPts val="1200"/>
              </a:spcAft>
              <a:buFontTx/>
              <a:buBlip>
                <a:blip r:embed="rId2"/>
              </a:buBlip>
              <a:tabLst/>
              <a:defRPr sz="1400" b="0" i="0">
                <a:latin typeface="Noto Serif" panose="02020600060500020200" pitchFamily="18" charset="0"/>
                <a:ea typeface="Noto Serif" panose="02020600060500020200" pitchFamily="18" charset="0"/>
                <a:cs typeface="Noto Serif" panose="02020600060500020200" pitchFamily="18" charset="0"/>
              </a:defRPr>
            </a:lvl2pPr>
            <a:lvl3pPr marL="536575"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3pPr>
            <a:lvl4pPr marL="712788" indent="-176213">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4pPr>
            <a:lvl5pPr marL="893763" indent="-180975">
              <a:lnSpc>
                <a:spcPct val="110000"/>
              </a:lnSpc>
              <a:spcAft>
                <a:spcPts val="1200"/>
              </a:spcAft>
              <a:buFont typeface="Systemtypsnitt normalt"/>
              <a:buChar char="-"/>
              <a:tabLst/>
              <a:defRPr sz="1400" b="0" i="0">
                <a:latin typeface="Noto Serif" panose="02020600060500020200" pitchFamily="18" charset="0"/>
                <a:ea typeface="Noto Serif" panose="02020600060500020200" pitchFamily="18" charset="0"/>
                <a:cs typeface="Noto Serif" panose="02020600060500020200" pitchFamily="18" charset="0"/>
              </a:defRPr>
            </a:lvl5pPr>
          </a:lstStyle>
          <a:p>
            <a:pPr lvl="0"/>
            <a:r>
              <a:rPr lang="sv-SE"/>
              <a:t>Klicka här för att ändra format på bakgrundstexten</a:t>
            </a:r>
          </a:p>
          <a:p>
            <a:pPr lvl="1"/>
            <a:r>
              <a:rPr lang="sv-SE"/>
              <a:t>Nivå två</a:t>
            </a:r>
          </a:p>
        </p:txBody>
      </p:sp>
      <p:pic>
        <p:nvPicPr>
          <p:cNvPr id="6" name="Bildobjekt 5">
            <a:extLst>
              <a:ext uri="{FF2B5EF4-FFF2-40B4-BE49-F238E27FC236}">
                <a16:creationId xmlns:a16="http://schemas.microsoft.com/office/drawing/2014/main" id="{CBB14336-94A7-D363-0A4D-C9ABBFAF2416}"/>
              </a:ext>
            </a:extLst>
          </p:cNvPr>
          <p:cNvPicPr>
            <a:picLocks noChangeAspect="1"/>
          </p:cNvPicPr>
          <p:nvPr userDrawn="1"/>
        </p:nvPicPr>
        <p:blipFill>
          <a:blip r:embed="rId3"/>
          <a:srcRect/>
          <a:stretch/>
        </p:blipFill>
        <p:spPr>
          <a:xfrm>
            <a:off x="11353800" y="310256"/>
            <a:ext cx="532355" cy="525617"/>
          </a:xfrm>
          <a:prstGeom prst="rect">
            <a:avLst/>
          </a:prstGeom>
        </p:spPr>
      </p:pic>
      <p:sp>
        <p:nvSpPr>
          <p:cNvPr id="7" name="Rubrik 1">
            <a:extLst>
              <a:ext uri="{FF2B5EF4-FFF2-40B4-BE49-F238E27FC236}">
                <a16:creationId xmlns:a16="http://schemas.microsoft.com/office/drawing/2014/main" id="{BEB0B9EC-7B1A-F7C2-C36E-A2D55C63A6E5}"/>
              </a:ext>
            </a:extLst>
          </p:cNvPr>
          <p:cNvSpPr>
            <a:spLocks noGrp="1"/>
          </p:cNvSpPr>
          <p:nvPr>
            <p:ph type="title" hasCustomPrompt="1"/>
          </p:nvPr>
        </p:nvSpPr>
        <p:spPr>
          <a:xfrm>
            <a:off x="838200" y="795403"/>
            <a:ext cx="10515600" cy="895285"/>
          </a:xfrm>
        </p:spPr>
        <p:txBody>
          <a:bodyPr anchor="t"/>
          <a:lstStyle>
            <a:lvl1pPr>
              <a:lnSpc>
                <a:spcPct val="100000"/>
              </a:lnSpc>
              <a:defRPr sz="2400" b="0" i="0" spc="-40" baseline="0">
                <a:solidFill>
                  <a:schemeClr val="tx1"/>
                </a:solidFill>
                <a:latin typeface="Open Sans" panose="020B0606030504020204" pitchFamily="34" charset="0"/>
                <a:ea typeface="Open Sans" panose="020B0606030504020204" pitchFamily="34" charset="0"/>
                <a:cs typeface="Open Sans" panose="020B0606030504020204" pitchFamily="34" charset="0"/>
              </a:defRPr>
            </a:lvl1pPr>
          </a:lstStyle>
          <a:p>
            <a:r>
              <a:rPr lang="sv-SE"/>
              <a:t>KLICKA HÄR FÖR ATT SKRIVA RUBRIK</a:t>
            </a:r>
          </a:p>
        </p:txBody>
      </p:sp>
      <p:cxnSp>
        <p:nvCxnSpPr>
          <p:cNvPr id="8" name="Rak koppling 7">
            <a:extLst>
              <a:ext uri="{FF2B5EF4-FFF2-40B4-BE49-F238E27FC236}">
                <a16:creationId xmlns:a16="http://schemas.microsoft.com/office/drawing/2014/main" id="{174F0DF9-A4A9-DE61-C6DE-52634E98895B}"/>
              </a:ext>
            </a:extLst>
          </p:cNvPr>
          <p:cNvCxnSpPr/>
          <p:nvPr userDrawn="1"/>
        </p:nvCxnSpPr>
        <p:spPr>
          <a:xfrm>
            <a:off x="963161" y="1219200"/>
            <a:ext cx="10233497"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51160213"/>
      </p:ext>
    </p:extLst>
  </p:cSld>
  <p:clrMapOvr>
    <a:masterClrMapping/>
  </p:clrMapOvr>
  <p:extLst>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40.xml"/><Relationship Id="rId18" Type="http://schemas.openxmlformats.org/officeDocument/2006/relationships/slideLayout" Target="../slideLayouts/slideLayout45.xml"/><Relationship Id="rId26" Type="http://schemas.openxmlformats.org/officeDocument/2006/relationships/slideLayout" Target="../slideLayouts/slideLayout53.xml"/><Relationship Id="rId39" Type="http://schemas.openxmlformats.org/officeDocument/2006/relationships/slideLayout" Target="../slideLayouts/slideLayout66.xml"/><Relationship Id="rId21" Type="http://schemas.openxmlformats.org/officeDocument/2006/relationships/slideLayout" Target="../slideLayouts/slideLayout48.xml"/><Relationship Id="rId34" Type="http://schemas.openxmlformats.org/officeDocument/2006/relationships/slideLayout" Target="../slideLayouts/slideLayout61.xml"/><Relationship Id="rId42" Type="http://schemas.openxmlformats.org/officeDocument/2006/relationships/slideLayout" Target="../slideLayouts/slideLayout69.xml"/><Relationship Id="rId47" Type="http://schemas.openxmlformats.org/officeDocument/2006/relationships/slideLayout" Target="../slideLayouts/slideLayout74.xml"/><Relationship Id="rId50" Type="http://schemas.openxmlformats.org/officeDocument/2006/relationships/theme" Target="../theme/theme2.xml"/><Relationship Id="rId7" Type="http://schemas.openxmlformats.org/officeDocument/2006/relationships/slideLayout" Target="../slideLayouts/slideLayout34.xml"/><Relationship Id="rId2" Type="http://schemas.openxmlformats.org/officeDocument/2006/relationships/slideLayout" Target="../slideLayouts/slideLayout29.xml"/><Relationship Id="rId16" Type="http://schemas.openxmlformats.org/officeDocument/2006/relationships/slideLayout" Target="../slideLayouts/slideLayout43.xml"/><Relationship Id="rId29" Type="http://schemas.openxmlformats.org/officeDocument/2006/relationships/slideLayout" Target="../slideLayouts/slideLayout56.xml"/><Relationship Id="rId11" Type="http://schemas.openxmlformats.org/officeDocument/2006/relationships/slideLayout" Target="../slideLayouts/slideLayout38.xml"/><Relationship Id="rId24" Type="http://schemas.openxmlformats.org/officeDocument/2006/relationships/slideLayout" Target="../slideLayouts/slideLayout51.xml"/><Relationship Id="rId32" Type="http://schemas.openxmlformats.org/officeDocument/2006/relationships/slideLayout" Target="../slideLayouts/slideLayout59.xml"/><Relationship Id="rId37" Type="http://schemas.openxmlformats.org/officeDocument/2006/relationships/slideLayout" Target="../slideLayouts/slideLayout64.xml"/><Relationship Id="rId40" Type="http://schemas.openxmlformats.org/officeDocument/2006/relationships/slideLayout" Target="../slideLayouts/slideLayout67.xml"/><Relationship Id="rId45" Type="http://schemas.openxmlformats.org/officeDocument/2006/relationships/slideLayout" Target="../slideLayouts/slideLayout72.xml"/><Relationship Id="rId5" Type="http://schemas.openxmlformats.org/officeDocument/2006/relationships/slideLayout" Target="../slideLayouts/slideLayout32.xml"/><Relationship Id="rId15" Type="http://schemas.openxmlformats.org/officeDocument/2006/relationships/slideLayout" Target="../slideLayouts/slideLayout42.xml"/><Relationship Id="rId23" Type="http://schemas.openxmlformats.org/officeDocument/2006/relationships/slideLayout" Target="../slideLayouts/slideLayout50.xml"/><Relationship Id="rId28" Type="http://schemas.openxmlformats.org/officeDocument/2006/relationships/slideLayout" Target="../slideLayouts/slideLayout55.xml"/><Relationship Id="rId36" Type="http://schemas.openxmlformats.org/officeDocument/2006/relationships/slideLayout" Target="../slideLayouts/slideLayout63.xml"/><Relationship Id="rId49" Type="http://schemas.openxmlformats.org/officeDocument/2006/relationships/slideLayout" Target="../slideLayouts/slideLayout76.xml"/><Relationship Id="rId10" Type="http://schemas.openxmlformats.org/officeDocument/2006/relationships/slideLayout" Target="../slideLayouts/slideLayout37.xml"/><Relationship Id="rId19" Type="http://schemas.openxmlformats.org/officeDocument/2006/relationships/slideLayout" Target="../slideLayouts/slideLayout46.xml"/><Relationship Id="rId31" Type="http://schemas.openxmlformats.org/officeDocument/2006/relationships/slideLayout" Target="../slideLayouts/slideLayout58.xml"/><Relationship Id="rId44" Type="http://schemas.openxmlformats.org/officeDocument/2006/relationships/slideLayout" Target="../slideLayouts/slideLayout71.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slideLayout" Target="../slideLayouts/slideLayout41.xml"/><Relationship Id="rId22" Type="http://schemas.openxmlformats.org/officeDocument/2006/relationships/slideLayout" Target="../slideLayouts/slideLayout49.xml"/><Relationship Id="rId27" Type="http://schemas.openxmlformats.org/officeDocument/2006/relationships/slideLayout" Target="../slideLayouts/slideLayout54.xml"/><Relationship Id="rId30" Type="http://schemas.openxmlformats.org/officeDocument/2006/relationships/slideLayout" Target="../slideLayouts/slideLayout57.xml"/><Relationship Id="rId35" Type="http://schemas.openxmlformats.org/officeDocument/2006/relationships/slideLayout" Target="../slideLayouts/slideLayout62.xml"/><Relationship Id="rId43" Type="http://schemas.openxmlformats.org/officeDocument/2006/relationships/slideLayout" Target="../slideLayouts/slideLayout70.xml"/><Relationship Id="rId48" Type="http://schemas.openxmlformats.org/officeDocument/2006/relationships/slideLayout" Target="../slideLayouts/slideLayout75.xml"/><Relationship Id="rId8" Type="http://schemas.openxmlformats.org/officeDocument/2006/relationships/slideLayout" Target="../slideLayouts/slideLayout35.xml"/><Relationship Id="rId3" Type="http://schemas.openxmlformats.org/officeDocument/2006/relationships/slideLayout" Target="../slideLayouts/slideLayout30.xml"/><Relationship Id="rId12" Type="http://schemas.openxmlformats.org/officeDocument/2006/relationships/slideLayout" Target="../slideLayouts/slideLayout39.xml"/><Relationship Id="rId17" Type="http://schemas.openxmlformats.org/officeDocument/2006/relationships/slideLayout" Target="../slideLayouts/slideLayout44.xml"/><Relationship Id="rId25" Type="http://schemas.openxmlformats.org/officeDocument/2006/relationships/slideLayout" Target="../slideLayouts/slideLayout52.xml"/><Relationship Id="rId33" Type="http://schemas.openxmlformats.org/officeDocument/2006/relationships/slideLayout" Target="../slideLayouts/slideLayout60.xml"/><Relationship Id="rId38" Type="http://schemas.openxmlformats.org/officeDocument/2006/relationships/slideLayout" Target="../slideLayouts/slideLayout65.xml"/><Relationship Id="rId46" Type="http://schemas.openxmlformats.org/officeDocument/2006/relationships/slideLayout" Target="../slideLayouts/slideLayout73.xml"/><Relationship Id="rId20" Type="http://schemas.openxmlformats.org/officeDocument/2006/relationships/slideLayout" Target="../slideLayouts/slideLayout47.xml"/><Relationship Id="rId41" Type="http://schemas.openxmlformats.org/officeDocument/2006/relationships/slideLayout" Target="../slideLayouts/slideLayout68.xml"/><Relationship Id="rId1" Type="http://schemas.openxmlformats.org/officeDocument/2006/relationships/slideLayout" Target="../slideLayouts/slideLayout28.xml"/><Relationship Id="rId6" Type="http://schemas.openxmlformats.org/officeDocument/2006/relationships/slideLayout" Target="../slideLayouts/slideLayout33.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CC2A48DD-DCF3-F147-8A83-D4DBAA8C37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1120664-BCC5-EA40-8A3E-D97D345E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A835E7F-1923-2B4E-8792-250CFBB348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marL="0" marR="0" lvl="0" indent="0" algn="l" defTabSz="914400" rtl="0" eaLnBrk="1" fontAlgn="auto" latinLnBrk="0" hangingPunct="1">
              <a:lnSpc>
                <a:spcPct val="100000"/>
              </a:lnSpc>
              <a:spcBef>
                <a:spcPts val="0"/>
              </a:spcBef>
              <a:spcAft>
                <a:spcPts val="0"/>
              </a:spcAft>
              <a:buClrTx/>
              <a:buSzTx/>
              <a:buFontTx/>
              <a:buNone/>
              <a:tabLst/>
              <a:defRPr/>
            </a:pPr>
            <a:fld id="{F637D77F-9B0E-A448-B81E-B6100637E94F}" type="datetimeFigureOut">
              <a:rPr kumimoji="0" lang="sv-SE" sz="1200" b="0" i="0" u="none" strike="noStrike" kern="1200" cap="none" spc="0" normalizeH="0" baseline="0" noProof="0" smtClean="0">
                <a:ln>
                  <a:noFill/>
                </a:ln>
                <a:solidFill>
                  <a:srgbClr val="000000">
                    <a:tint val="75000"/>
                  </a:srgbClr>
                </a:solidFill>
                <a:effectLst/>
                <a:uLnTx/>
                <a:uFillTx/>
                <a:latin typeface="Noto Serif"/>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024-08-20</a:t>
            </a:fld>
            <a:endParaRPr kumimoji="0" lang="sv-SE" sz="1200" b="0" i="0" u="none" strike="noStrike" kern="1200" cap="none" spc="0" normalizeH="0" baseline="0" noProof="0">
              <a:ln>
                <a:noFill/>
              </a:ln>
              <a:solidFill>
                <a:srgbClr val="000000">
                  <a:tint val="75000"/>
                </a:srgbClr>
              </a:solidFill>
              <a:effectLst/>
              <a:uLnTx/>
              <a:uFillTx/>
              <a:latin typeface="Noto Serif"/>
              <a:ea typeface="+mn-ea"/>
              <a:cs typeface="+mn-cs"/>
            </a:endParaRPr>
          </a:p>
        </p:txBody>
      </p:sp>
      <p:sp>
        <p:nvSpPr>
          <p:cNvPr id="5" name="Platshållare för sidfot 4">
            <a:extLst>
              <a:ext uri="{FF2B5EF4-FFF2-40B4-BE49-F238E27FC236}">
                <a16:creationId xmlns:a16="http://schemas.microsoft.com/office/drawing/2014/main" id="{4AF51D83-120C-794C-9089-DF6BF2557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tint val="75000"/>
                </a:srgbClr>
              </a:solidFill>
              <a:effectLst/>
              <a:uLnTx/>
              <a:uFillTx/>
              <a:latin typeface="Noto Serif"/>
              <a:ea typeface="+mn-ea"/>
              <a:cs typeface="+mn-cs"/>
            </a:endParaRPr>
          </a:p>
        </p:txBody>
      </p:sp>
      <p:sp>
        <p:nvSpPr>
          <p:cNvPr id="6" name="Platshållare för bildnummer 5">
            <a:extLst>
              <a:ext uri="{FF2B5EF4-FFF2-40B4-BE49-F238E27FC236}">
                <a16:creationId xmlns:a16="http://schemas.microsoft.com/office/drawing/2014/main" id="{76B92AA7-8AD5-6A44-8B93-B38C992A6A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marL="0" marR="0" lvl="0" indent="0" algn="r" defTabSz="914400" rtl="0" eaLnBrk="1" fontAlgn="auto" latinLnBrk="0" hangingPunct="1">
              <a:lnSpc>
                <a:spcPct val="100000"/>
              </a:lnSpc>
              <a:spcBef>
                <a:spcPts val="0"/>
              </a:spcBef>
              <a:spcAft>
                <a:spcPts val="0"/>
              </a:spcAft>
              <a:buClrTx/>
              <a:buSzTx/>
              <a:buFontTx/>
              <a:buNone/>
              <a:tabLst/>
              <a:defRPr/>
            </a:pPr>
            <a:fld id="{3C58DE52-BC3F-934E-9E28-15BE3F642BA6}" type="slidenum">
              <a:rPr kumimoji="0" lang="sv-SE" sz="1200" b="0" i="0" u="none" strike="noStrike" kern="1200" cap="none" spc="0" normalizeH="0" baseline="0" noProof="0" smtClean="0">
                <a:ln>
                  <a:noFill/>
                </a:ln>
                <a:solidFill>
                  <a:srgbClr val="000000">
                    <a:tint val="75000"/>
                  </a:srgbClr>
                </a:solidFill>
                <a:effectLst/>
                <a:uLnTx/>
                <a:uFillTx/>
                <a:latin typeface="Noto Serif"/>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a:t>
            </a:fld>
            <a:endParaRPr kumimoji="0" lang="sv-SE" sz="1200" b="0" i="0" u="none" strike="noStrike" kern="1200" cap="none" spc="0" normalizeH="0" baseline="0" noProof="0">
              <a:ln>
                <a:noFill/>
              </a:ln>
              <a:solidFill>
                <a:srgbClr val="000000">
                  <a:tint val="75000"/>
                </a:srgbClr>
              </a:solidFill>
              <a:effectLst/>
              <a:uLnTx/>
              <a:uFillTx/>
              <a:latin typeface="Noto Serif"/>
              <a:ea typeface="+mn-ea"/>
              <a:cs typeface="+mn-cs"/>
            </a:endParaRPr>
          </a:p>
        </p:txBody>
      </p:sp>
    </p:spTree>
    <p:extLst>
      <p:ext uri="{BB962C8B-B14F-4D97-AF65-F5344CB8AC3E}">
        <p14:creationId xmlns:p14="http://schemas.microsoft.com/office/powerpoint/2010/main" val="89989280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 id="2147483675" r:id="rId15"/>
    <p:sldLayoutId id="2147483676" r:id="rId16"/>
    <p:sldLayoutId id="2147483677" r:id="rId17"/>
    <p:sldLayoutId id="2147483678" r:id="rId18"/>
    <p:sldLayoutId id="2147483679" r:id="rId19"/>
    <p:sldLayoutId id="2147483680" r:id="rId20"/>
    <p:sldLayoutId id="2147483681" r:id="rId21"/>
    <p:sldLayoutId id="2147483682" r:id="rId22"/>
    <p:sldLayoutId id="2147483683" r:id="rId23"/>
    <p:sldLayoutId id="2147483684" r:id="rId24"/>
    <p:sldLayoutId id="2147483685" r:id="rId25"/>
    <p:sldLayoutId id="2147483686" r:id="rId26"/>
    <p:sldLayoutId id="2147483687" r:id="rId2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p15:clr>
            <a:srgbClr val="F26B43"/>
          </p15:clr>
        </p15:guide>
        <p15:guide id="2" pos="3840">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rubrik 1">
            <a:extLst>
              <a:ext uri="{FF2B5EF4-FFF2-40B4-BE49-F238E27FC236}">
                <a16:creationId xmlns:a16="http://schemas.microsoft.com/office/drawing/2014/main" id="{CC2A48DD-DCF3-F147-8A83-D4DBAA8C3732}"/>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sv-SE"/>
              <a:t>Klicka här för att ändra mall för rubrikformat</a:t>
            </a:r>
          </a:p>
        </p:txBody>
      </p:sp>
      <p:sp>
        <p:nvSpPr>
          <p:cNvPr id="3" name="Platshållare för text 2">
            <a:extLst>
              <a:ext uri="{FF2B5EF4-FFF2-40B4-BE49-F238E27FC236}">
                <a16:creationId xmlns:a16="http://schemas.microsoft.com/office/drawing/2014/main" id="{A1120664-BCC5-EA40-8A3E-D97D345E8D3A}"/>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sv-SE"/>
              <a:t>Klicka här för att ändra format på bakgrundstexten</a:t>
            </a:r>
          </a:p>
          <a:p>
            <a:pPr lvl="1"/>
            <a:r>
              <a:rPr lang="sv-SE"/>
              <a:t>Nivå två</a:t>
            </a:r>
          </a:p>
          <a:p>
            <a:pPr lvl="2"/>
            <a:r>
              <a:rPr lang="sv-SE"/>
              <a:t>Nivå tre</a:t>
            </a:r>
          </a:p>
          <a:p>
            <a:pPr lvl="3"/>
            <a:r>
              <a:rPr lang="sv-SE"/>
              <a:t>Nivå fyra</a:t>
            </a:r>
          </a:p>
          <a:p>
            <a:pPr lvl="4"/>
            <a:r>
              <a:rPr lang="sv-SE"/>
              <a:t>Nivå fem</a:t>
            </a:r>
          </a:p>
        </p:txBody>
      </p:sp>
      <p:sp>
        <p:nvSpPr>
          <p:cNvPr id="4" name="Platshållare för datum 3">
            <a:extLst>
              <a:ext uri="{FF2B5EF4-FFF2-40B4-BE49-F238E27FC236}">
                <a16:creationId xmlns:a16="http://schemas.microsoft.com/office/drawing/2014/main" id="{9A835E7F-1923-2B4E-8792-250CFBB3488C}"/>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637D77F-9B0E-A448-B81E-B6100637E94F}" type="datetimeFigureOut">
              <a:rPr lang="sv-SE" smtClean="0"/>
              <a:t>2024-08-20</a:t>
            </a:fld>
            <a:endParaRPr lang="sv-SE"/>
          </a:p>
        </p:txBody>
      </p:sp>
      <p:sp>
        <p:nvSpPr>
          <p:cNvPr id="5" name="Platshållare för sidfot 4">
            <a:extLst>
              <a:ext uri="{FF2B5EF4-FFF2-40B4-BE49-F238E27FC236}">
                <a16:creationId xmlns:a16="http://schemas.microsoft.com/office/drawing/2014/main" id="{4AF51D83-120C-794C-9089-DF6BF2557624}"/>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sv-SE"/>
          </a:p>
        </p:txBody>
      </p:sp>
      <p:sp>
        <p:nvSpPr>
          <p:cNvPr id="6" name="Platshållare för bildnummer 5">
            <a:extLst>
              <a:ext uri="{FF2B5EF4-FFF2-40B4-BE49-F238E27FC236}">
                <a16:creationId xmlns:a16="http://schemas.microsoft.com/office/drawing/2014/main" id="{76B92AA7-8AD5-6A44-8B93-B38C992A6A08}"/>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C58DE52-BC3F-934E-9E28-15BE3F642BA6}" type="slidenum">
              <a:rPr lang="sv-SE" smtClean="0"/>
              <a:t>‹#›</a:t>
            </a:fld>
            <a:endParaRPr lang="sv-SE"/>
          </a:p>
        </p:txBody>
      </p:sp>
    </p:spTree>
    <p:extLst>
      <p:ext uri="{BB962C8B-B14F-4D97-AF65-F5344CB8AC3E}">
        <p14:creationId xmlns:p14="http://schemas.microsoft.com/office/powerpoint/2010/main" val="4009478486"/>
      </p:ext>
    </p:extLst>
  </p:cSld>
  <p:clrMap bg1="lt1" tx1="dk1" bg2="lt2" tx2="dk2" accent1="accent1" accent2="accent2" accent3="accent3" accent4="accent4" accent5="accent5" accent6="accent6" hlink="hlink" folHlink="folHlink"/>
  <p:sldLayoutIdLst>
    <p:sldLayoutId id="2147483689" r:id="rId1"/>
    <p:sldLayoutId id="2147483690" r:id="rId2"/>
    <p:sldLayoutId id="2147483691" r:id="rId3"/>
    <p:sldLayoutId id="2147483692" r:id="rId4"/>
    <p:sldLayoutId id="2147483693" r:id="rId5"/>
    <p:sldLayoutId id="2147483694" r:id="rId6"/>
    <p:sldLayoutId id="2147483695" r:id="rId7"/>
    <p:sldLayoutId id="2147483696" r:id="rId8"/>
    <p:sldLayoutId id="2147483697" r:id="rId9"/>
    <p:sldLayoutId id="2147483698" r:id="rId10"/>
    <p:sldLayoutId id="2147483699" r:id="rId11"/>
    <p:sldLayoutId id="2147483700" r:id="rId12"/>
    <p:sldLayoutId id="2147483701" r:id="rId13"/>
    <p:sldLayoutId id="2147483702" r:id="rId14"/>
    <p:sldLayoutId id="2147483703" r:id="rId15"/>
    <p:sldLayoutId id="2147483704" r:id="rId16"/>
    <p:sldLayoutId id="2147483705" r:id="rId17"/>
    <p:sldLayoutId id="2147483706" r:id="rId18"/>
    <p:sldLayoutId id="2147483707" r:id="rId19"/>
    <p:sldLayoutId id="2147483708" r:id="rId20"/>
    <p:sldLayoutId id="2147483709" r:id="rId21"/>
    <p:sldLayoutId id="2147483710" r:id="rId22"/>
    <p:sldLayoutId id="2147483711" r:id="rId23"/>
    <p:sldLayoutId id="2147483712" r:id="rId24"/>
    <p:sldLayoutId id="2147483713" r:id="rId25"/>
    <p:sldLayoutId id="2147483714" r:id="rId26"/>
    <p:sldLayoutId id="2147483715" r:id="rId27"/>
    <p:sldLayoutId id="2147483716" r:id="rId28"/>
    <p:sldLayoutId id="2147483717" r:id="rId29"/>
    <p:sldLayoutId id="2147483718" r:id="rId30"/>
    <p:sldLayoutId id="2147483719" r:id="rId31"/>
    <p:sldLayoutId id="2147483720" r:id="rId32"/>
    <p:sldLayoutId id="2147483721" r:id="rId33"/>
    <p:sldLayoutId id="2147483722" r:id="rId34"/>
    <p:sldLayoutId id="2147483723" r:id="rId35"/>
    <p:sldLayoutId id="2147483724" r:id="rId36"/>
    <p:sldLayoutId id="2147483725" r:id="rId37"/>
    <p:sldLayoutId id="2147483726" r:id="rId38"/>
    <p:sldLayoutId id="2147483727" r:id="rId39"/>
    <p:sldLayoutId id="2147483728" r:id="rId40"/>
    <p:sldLayoutId id="2147483729" r:id="rId41"/>
    <p:sldLayoutId id="2147483730" r:id="rId42"/>
    <p:sldLayoutId id="2147483731" r:id="rId43"/>
    <p:sldLayoutId id="2147483732" r:id="rId44"/>
    <p:sldLayoutId id="2147483733" r:id="rId45"/>
    <p:sldLayoutId id="2147483734" r:id="rId46"/>
    <p:sldLayoutId id="2147483735" r:id="rId47"/>
    <p:sldLayoutId id="2147483736" r:id="rId48"/>
    <p:sldLayoutId id="2147483737" r:id="rId49"/>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image" Target="../media/image49.png"/><Relationship Id="rId1" Type="http://schemas.openxmlformats.org/officeDocument/2006/relationships/slideLayout" Target="../slideLayouts/slideLayout7.xml"/><Relationship Id="rId5" Type="http://schemas.openxmlformats.org/officeDocument/2006/relationships/image" Target="../media/image52.png"/><Relationship Id="rId4" Type="http://schemas.openxmlformats.org/officeDocument/2006/relationships/image" Target="../media/image51.png"/></Relationships>
</file>

<file path=ppt/slides/_rels/slide11.xml.rels><?xml version="1.0" encoding="UTF-8" standalone="yes"?>
<Relationships xmlns="http://schemas.openxmlformats.org/package/2006/relationships"><Relationship Id="rId3" Type="http://schemas.openxmlformats.org/officeDocument/2006/relationships/diagramLayout" Target="../diagrams/layout2.xml"/><Relationship Id="rId2" Type="http://schemas.openxmlformats.org/officeDocument/2006/relationships/diagramData" Target="../diagrams/data2.xml"/><Relationship Id="rId1" Type="http://schemas.openxmlformats.org/officeDocument/2006/relationships/slideLayout" Target="../slideLayouts/slideLayout27.xml"/><Relationship Id="rId6" Type="http://schemas.microsoft.com/office/2007/relationships/diagramDrawing" Target="../diagrams/drawing2.xml"/><Relationship Id="rId5" Type="http://schemas.openxmlformats.org/officeDocument/2006/relationships/diagramColors" Target="../diagrams/colors2.xml"/><Relationship Id="rId4" Type="http://schemas.openxmlformats.org/officeDocument/2006/relationships/diagramQuickStyle" Target="../diagrams/quickStyle2.xml"/></Relationships>
</file>

<file path=ppt/slides/_rels/slide12.xml.rels><?xml version="1.0" encoding="UTF-8" standalone="yes"?>
<Relationships xmlns="http://schemas.openxmlformats.org/package/2006/relationships"><Relationship Id="rId3" Type="http://schemas.openxmlformats.org/officeDocument/2006/relationships/hyperlink" Target="https://eur-lex.europa.eu/legal-content/sv/TXT/PDF/?uri=OJ:L_202302364" TargetMode="External"/><Relationship Id="rId2" Type="http://schemas.openxmlformats.org/officeDocument/2006/relationships/image" Target="../media/image59.png"/><Relationship Id="rId1" Type="http://schemas.openxmlformats.org/officeDocument/2006/relationships/slideLayout" Target="../slideLayouts/slideLayout27.xml"/></Relationships>
</file>

<file path=ppt/slides/_rels/slide13.xml.rels><?xml version="1.0" encoding="UTF-8" standalone="yes"?>
<Relationships xmlns="http://schemas.openxmlformats.org/package/2006/relationships"><Relationship Id="rId2" Type="http://schemas.openxmlformats.org/officeDocument/2006/relationships/image" Target="../media/image60.png"/><Relationship Id="rId1" Type="http://schemas.openxmlformats.org/officeDocument/2006/relationships/slideLayout" Target="../slideLayouts/slideLayout7.xml"/></Relationships>
</file>

<file path=ppt/slides/_rels/slide1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Layout" Target="../slideLayouts/slideLayout23.xml"/><Relationship Id="rId1" Type="http://schemas.openxmlformats.org/officeDocument/2006/relationships/themeOverride" Target="../theme/themeOverride1.xml"/><Relationship Id="rId4" Type="http://schemas.openxmlformats.org/officeDocument/2006/relationships/image" Target="../media/image61.png"/></Relationships>
</file>

<file path=ppt/slides/_rels/slide1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4.xml"/><Relationship Id="rId1" Type="http://schemas.openxmlformats.org/officeDocument/2006/relationships/slideLayout" Target="../slideLayouts/slideLayout27.xml"/><Relationship Id="rId6" Type="http://schemas.openxmlformats.org/officeDocument/2006/relationships/image" Target="../media/image63.png"/><Relationship Id="rId5" Type="http://schemas.openxmlformats.org/officeDocument/2006/relationships/image" Target="../media/image50.png"/><Relationship Id="rId4" Type="http://schemas.openxmlformats.org/officeDocument/2006/relationships/image" Target="../media/image62.png"/></Relationships>
</file>

<file path=ppt/slides/_rels/slide16.xml.rels><?xml version="1.0" encoding="UTF-8" standalone="yes"?>
<Relationships xmlns="http://schemas.openxmlformats.org/package/2006/relationships"><Relationship Id="rId3" Type="http://schemas.openxmlformats.org/officeDocument/2006/relationships/image" Target="../media/image65.png"/><Relationship Id="rId2" Type="http://schemas.openxmlformats.org/officeDocument/2006/relationships/image" Target="../media/image64.png"/><Relationship Id="rId1" Type="http://schemas.openxmlformats.org/officeDocument/2006/relationships/slideLayout" Target="../slideLayouts/slideLayout24.xml"/></Relationships>
</file>

<file path=ppt/slides/_rels/slide17.xml.rels><?xml version="1.0" encoding="UTF-8" standalone="yes"?>
<Relationships xmlns="http://schemas.openxmlformats.org/package/2006/relationships"><Relationship Id="rId3" Type="http://schemas.openxmlformats.org/officeDocument/2006/relationships/hyperlink" Target="https://webgate.ec.europa.eu/tracesnt/login" TargetMode="External"/><Relationship Id="rId2" Type="http://schemas.openxmlformats.org/officeDocument/2006/relationships/notesSlide" Target="../notesSlides/notesSlide5.xml"/><Relationship Id="rId1" Type="http://schemas.openxmlformats.org/officeDocument/2006/relationships/slideLayout" Target="../slideLayouts/slideLayout23.xml"/><Relationship Id="rId4" Type="http://schemas.openxmlformats.org/officeDocument/2006/relationships/image" Target="../media/image66.png"/></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2" Type="http://schemas.openxmlformats.org/officeDocument/2006/relationships/hyperlink" Target="https://www.biometria.se/mina-sidor/integrationsspecifikationer/integrationsspecifikationer-viol-2/" TargetMode="External"/><Relationship Id="rId1" Type="http://schemas.openxmlformats.org/officeDocument/2006/relationships/slideLayout" Target="../slideLayouts/slideLayout23.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8" Type="http://schemas.openxmlformats.org/officeDocument/2006/relationships/image" Target="../media/image69.png"/><Relationship Id="rId3" Type="http://schemas.openxmlformats.org/officeDocument/2006/relationships/image" Target="../media/image46.png"/><Relationship Id="rId7" Type="http://schemas.openxmlformats.org/officeDocument/2006/relationships/image" Target="../media/image68.png"/><Relationship Id="rId2" Type="http://schemas.openxmlformats.org/officeDocument/2006/relationships/notesSlide" Target="../notesSlides/notesSlide6.xml"/><Relationship Id="rId1" Type="http://schemas.openxmlformats.org/officeDocument/2006/relationships/slideLayout" Target="../slideLayouts/slideLayout43.xml"/><Relationship Id="rId6" Type="http://schemas.openxmlformats.org/officeDocument/2006/relationships/image" Target="../media/image67.png"/><Relationship Id="rId5" Type="http://schemas.openxmlformats.org/officeDocument/2006/relationships/image" Target="../media/image62.png"/><Relationship Id="rId4" Type="http://schemas.openxmlformats.org/officeDocument/2006/relationships/image" Target="../media/image51.png"/><Relationship Id="rId9" Type="http://schemas.openxmlformats.org/officeDocument/2006/relationships/image" Target="../media/image63.png"/></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23.xml"/><Relationship Id="rId1" Type="http://schemas.openxmlformats.org/officeDocument/2006/relationships/tags" Target="../tags/tag1.xml"/><Relationship Id="rId5" Type="http://schemas.openxmlformats.org/officeDocument/2006/relationships/image" Target="../media/image70.emf"/><Relationship Id="rId4" Type="http://schemas.openxmlformats.org/officeDocument/2006/relationships/oleObject" Target="../embeddings/oleObject1.bin"/></Relationships>
</file>

<file path=ppt/slides/_rels/slide24.xml.rels><?xml version="1.0" encoding="UTF-8" standalone="yes"?>
<Relationships xmlns="http://schemas.openxmlformats.org/package/2006/relationships"><Relationship Id="rId3" Type="http://schemas.openxmlformats.org/officeDocument/2006/relationships/diagramLayout" Target="../diagrams/layout3.xml"/><Relationship Id="rId2" Type="http://schemas.openxmlformats.org/officeDocument/2006/relationships/diagramData" Target="../diagrams/data3.xml"/><Relationship Id="rId1" Type="http://schemas.openxmlformats.org/officeDocument/2006/relationships/slideLayout" Target="../slideLayouts/slideLayout23.xml"/><Relationship Id="rId6" Type="http://schemas.microsoft.com/office/2007/relationships/diagramDrawing" Target="../diagrams/drawing3.xml"/><Relationship Id="rId5" Type="http://schemas.openxmlformats.org/officeDocument/2006/relationships/diagramColors" Target="../diagrams/colors3.xml"/><Relationship Id="rId4" Type="http://schemas.openxmlformats.org/officeDocument/2006/relationships/diagramQuickStyle" Target="../diagrams/quickStyle3.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71.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4.xml.rels><?xml version="1.0" encoding="UTF-8" standalone="yes"?>
<Relationships xmlns="http://schemas.openxmlformats.org/package/2006/relationships"><Relationship Id="rId3" Type="http://schemas.openxmlformats.org/officeDocument/2006/relationships/hyperlink" Target="https://eur-lex.europa.eu/legal-content/SV/TXT/PDF/?uri=CELEX:32023R1115" TargetMode="External"/><Relationship Id="rId2" Type="http://schemas.openxmlformats.org/officeDocument/2006/relationships/hyperlink" Target="https://www.skogsstyrelsen.se/lag-och-tillsyn/avskogningsforordningen/" TargetMode="External"/><Relationship Id="rId1" Type="http://schemas.openxmlformats.org/officeDocument/2006/relationships/slideLayout" Target="../slideLayouts/slideLayout23.xml"/><Relationship Id="rId4" Type="http://schemas.openxmlformats.org/officeDocument/2006/relationships/hyperlink" Target="https://green-business.ec.europa.eu/deforestation-regulation-implementation_en" TargetMode="Externa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55.xml"/></Relationships>
</file>

<file path=ppt/slides/_rels/slide4.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7.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5.xml.rels><?xml version="1.0" encoding="UTF-8" standalone="yes"?>
<Relationships xmlns="http://schemas.openxmlformats.org/package/2006/relationships"><Relationship Id="rId2" Type="http://schemas.openxmlformats.org/officeDocument/2006/relationships/hyperlink" Target="https://www.skogsstyrelsen.se/lag-och-tillsyn/avskogningsforordningen/" TargetMode="External"/><Relationship Id="rId1" Type="http://schemas.openxmlformats.org/officeDocument/2006/relationships/slideLayout" Target="../slideLayouts/slideLayout23.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3.xml"/></Relationships>
</file>

<file path=ppt/slides/_rels/slide7.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notesSlide" Target="../notesSlides/notesSlide2.xml"/><Relationship Id="rId1" Type="http://schemas.openxmlformats.org/officeDocument/2006/relationships/slideLayout" Target="../slideLayouts/slideLayout7.xml"/><Relationship Id="rId6" Type="http://schemas.openxmlformats.org/officeDocument/2006/relationships/image" Target="../media/image48.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8.xml.rels><?xml version="1.0" encoding="UTF-8" standalone="yes"?>
<Relationships xmlns="http://schemas.openxmlformats.org/package/2006/relationships"><Relationship Id="rId8" Type="http://schemas.openxmlformats.org/officeDocument/2006/relationships/image" Target="../media/image58.png"/><Relationship Id="rId3" Type="http://schemas.openxmlformats.org/officeDocument/2006/relationships/image" Target="../media/image53.png"/><Relationship Id="rId7" Type="http://schemas.openxmlformats.org/officeDocument/2006/relationships/image" Target="../media/image57.png"/><Relationship Id="rId2" Type="http://schemas.openxmlformats.org/officeDocument/2006/relationships/notesSlide" Target="../notesSlides/notesSlide3.xml"/><Relationship Id="rId1" Type="http://schemas.openxmlformats.org/officeDocument/2006/relationships/slideLayout" Target="../slideLayouts/slideLayout18.xml"/><Relationship Id="rId6" Type="http://schemas.openxmlformats.org/officeDocument/2006/relationships/image" Target="../media/image56.png"/><Relationship Id="rId5" Type="http://schemas.openxmlformats.org/officeDocument/2006/relationships/image" Target="../media/image55.png"/><Relationship Id="rId4" Type="http://schemas.openxmlformats.org/officeDocument/2006/relationships/image" Target="../media/image54.png"/><Relationship Id="rId9" Type="http://schemas.openxmlformats.org/officeDocument/2006/relationships/image" Target="../media/image10.pn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text 4">
            <a:extLst>
              <a:ext uri="{FF2B5EF4-FFF2-40B4-BE49-F238E27FC236}">
                <a16:creationId xmlns:a16="http://schemas.microsoft.com/office/drawing/2014/main" id="{71A17450-A451-F377-87AA-91208368E75B}"/>
              </a:ext>
            </a:extLst>
          </p:cNvPr>
          <p:cNvSpPr>
            <a:spLocks noGrp="1"/>
          </p:cNvSpPr>
          <p:nvPr>
            <p:ph type="body" sz="quarter" idx="10"/>
          </p:nvPr>
        </p:nvSpPr>
        <p:spPr/>
        <p:txBody>
          <a:bodyPr/>
          <a:lstStyle/>
          <a:p>
            <a:r>
              <a:rPr lang="sv-SE">
                <a:effectLst>
                  <a:outerShdw blurRad="38100" dist="38100" dir="2700000" algn="tl">
                    <a:srgbClr val="000000">
                      <a:alpha val="43137"/>
                    </a:srgbClr>
                  </a:outerShdw>
                </a:effectLst>
              </a:rPr>
              <a:t>2024-08-20</a:t>
            </a:r>
          </a:p>
        </p:txBody>
      </p:sp>
      <p:sp>
        <p:nvSpPr>
          <p:cNvPr id="4" name="Rubrik 3">
            <a:extLst>
              <a:ext uri="{FF2B5EF4-FFF2-40B4-BE49-F238E27FC236}">
                <a16:creationId xmlns:a16="http://schemas.microsoft.com/office/drawing/2014/main" id="{4DA582C4-9F1D-EF19-44C7-F20E4CF5D0FD}"/>
              </a:ext>
            </a:extLst>
          </p:cNvPr>
          <p:cNvSpPr>
            <a:spLocks noGrp="1"/>
          </p:cNvSpPr>
          <p:nvPr>
            <p:ph type="title"/>
          </p:nvPr>
        </p:nvSpPr>
        <p:spPr>
          <a:xfrm>
            <a:off x="838199" y="2734463"/>
            <a:ext cx="10888813" cy="1382605"/>
          </a:xfrm>
        </p:spPr>
        <p:txBody>
          <a:bodyPr>
            <a:normAutofit fontScale="90000"/>
          </a:bodyPr>
          <a:lstStyle/>
          <a:p>
            <a:r>
              <a:rPr lang="sv-SE">
                <a:effectLst>
                  <a:outerShdw blurRad="38100" dist="38100" dir="2700000" algn="tl">
                    <a:srgbClr val="000000">
                      <a:alpha val="43137"/>
                    </a:srgbClr>
                  </a:outerShdw>
                </a:effectLst>
              </a:rPr>
              <a:t>VÄLKOMMEN TILL BIOMETRIAS WEBBINARIUM OM AVSKOGNINGSFÖRORDNINGEN</a:t>
            </a:r>
          </a:p>
        </p:txBody>
      </p:sp>
    </p:spTree>
    <p:extLst>
      <p:ext uri="{BB962C8B-B14F-4D97-AF65-F5344CB8AC3E}">
        <p14:creationId xmlns:p14="http://schemas.microsoft.com/office/powerpoint/2010/main" val="131625653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AFB28220-EEDA-A54E-7AD1-DE0208E5B1DB}"/>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D925FE30-268B-01D8-6737-F184E0F2A18D}"/>
              </a:ext>
            </a:extLst>
          </p:cNvPr>
          <p:cNvSpPr>
            <a:spLocks noGrp="1"/>
          </p:cNvSpPr>
          <p:nvPr>
            <p:ph type="title"/>
          </p:nvPr>
        </p:nvSpPr>
        <p:spPr>
          <a:xfrm>
            <a:off x="838200" y="569262"/>
            <a:ext cx="10515600" cy="895285"/>
          </a:xfrm>
        </p:spPr>
        <p:txBody>
          <a:bodyPr>
            <a:normAutofit/>
          </a:bodyPr>
          <a:lstStyle/>
          <a:p>
            <a:r>
              <a:rPr lang="sv-SE" sz="2000" spc="0"/>
              <a:t>ARBETSGRUPPEN HAR BEDÖMT ATT DETTA ÄR ETT VETTIGT SÄTT ATT ARBETA MED RELATIONEN MELLAN ANMÄLAN TILL EU OCH VIOLS VIRKESORDER/AVTALSOBJEKT </a:t>
            </a:r>
          </a:p>
        </p:txBody>
      </p:sp>
      <p:pic>
        <p:nvPicPr>
          <p:cNvPr id="113" name="Bildobjekt 112" descr="En bild som visar text, klocka&#10;&#10;Automatiskt genererad beskrivning">
            <a:extLst>
              <a:ext uri="{FF2B5EF4-FFF2-40B4-BE49-F238E27FC236}">
                <a16:creationId xmlns:a16="http://schemas.microsoft.com/office/drawing/2014/main" id="{AFDB64D7-6734-F45C-ABEA-D02124AFF028}"/>
              </a:ext>
            </a:extLst>
          </p:cNvPr>
          <p:cNvPicPr>
            <a:picLocks noChangeAspect="1"/>
          </p:cNvPicPr>
          <p:nvPr/>
        </p:nvPicPr>
        <p:blipFill>
          <a:blip r:embed="rId2"/>
          <a:stretch>
            <a:fillRect/>
          </a:stretch>
        </p:blipFill>
        <p:spPr>
          <a:xfrm>
            <a:off x="1123943" y="3411011"/>
            <a:ext cx="688975" cy="427289"/>
          </a:xfrm>
          <a:prstGeom prst="rect">
            <a:avLst/>
          </a:prstGeom>
        </p:spPr>
      </p:pic>
      <p:sp>
        <p:nvSpPr>
          <p:cNvPr id="114" name="textruta 113">
            <a:extLst>
              <a:ext uri="{FF2B5EF4-FFF2-40B4-BE49-F238E27FC236}">
                <a16:creationId xmlns:a16="http://schemas.microsoft.com/office/drawing/2014/main" id="{3C4D192B-E636-2A85-93A6-490576498CE4}"/>
              </a:ext>
            </a:extLst>
          </p:cNvPr>
          <p:cNvSpPr txBox="1"/>
          <p:nvPr/>
        </p:nvSpPr>
        <p:spPr>
          <a:xfrm>
            <a:off x="2558933" y="1824749"/>
            <a:ext cx="4621952"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Noto Serif"/>
                <a:ea typeface="+mn-ea"/>
                <a:cs typeface="+mn-cs"/>
              </a:rPr>
              <a:t>För en trakt</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Volymen avser hela den planerade volymen på trakten.</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Trakten har </a:t>
            </a:r>
            <a:r>
              <a:rPr kumimoji="0" lang="sv-SE" sz="1400" b="0" i="0" u="sng" strike="noStrike" kern="1200" cap="none" spc="0" normalizeH="0" baseline="0" noProof="0">
                <a:ln>
                  <a:noFill/>
                </a:ln>
                <a:solidFill>
                  <a:srgbClr val="000000"/>
                </a:solidFill>
                <a:effectLst/>
                <a:uLnTx/>
                <a:uFillTx/>
                <a:latin typeface="Noto Serif"/>
                <a:ea typeface="+mn-ea"/>
                <a:cs typeface="+mn-cs"/>
              </a:rPr>
              <a:t>ett</a:t>
            </a:r>
            <a:r>
              <a:rPr kumimoji="0" lang="sv-SE" sz="1400" b="0" i="0" u="none" strike="noStrike" kern="1200" cap="none" spc="0" normalizeH="0" baseline="0" noProof="0">
                <a:ln>
                  <a:noFill/>
                </a:ln>
                <a:solidFill>
                  <a:srgbClr val="000000"/>
                </a:solidFill>
                <a:effectLst/>
                <a:uLnTx/>
                <a:uFillTx/>
                <a:latin typeface="Noto Serif"/>
                <a:ea typeface="+mn-ea"/>
                <a:cs typeface="+mn-cs"/>
              </a:rPr>
              <a:t> geografiskt ursprung</a:t>
            </a:r>
          </a:p>
        </p:txBody>
      </p:sp>
      <p:sp>
        <p:nvSpPr>
          <p:cNvPr id="115" name="textruta 114">
            <a:extLst>
              <a:ext uri="{FF2B5EF4-FFF2-40B4-BE49-F238E27FC236}">
                <a16:creationId xmlns:a16="http://schemas.microsoft.com/office/drawing/2014/main" id="{309EE595-5E82-5A03-F8CF-F3A5074FFFAA}"/>
              </a:ext>
            </a:extLst>
          </p:cNvPr>
          <p:cNvSpPr txBox="1"/>
          <p:nvPr/>
        </p:nvSpPr>
        <p:spPr>
          <a:xfrm>
            <a:off x="7594262" y="3123118"/>
            <a:ext cx="3970392" cy="249299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Från skog räcker med att volymen delas på två olika Harmoniserade varuko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0" i="0" u="none" strike="noStrike" kern="1200" cap="none" spc="0" normalizeH="0" baseline="0" noProof="0">
              <a:ln>
                <a:noFill/>
              </a:ln>
              <a:solidFill>
                <a:srgbClr val="000000"/>
              </a:solidFill>
              <a:effectLst/>
              <a:uLnTx/>
              <a:uFillTx/>
              <a:latin typeface="Noto Serif"/>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b="1" i="1">
                <a:solidFill>
                  <a:srgbClr val="000000"/>
                </a:solidFill>
                <a:latin typeface="TimesNewRomanPS-BoldItalicMT"/>
              </a:rPr>
              <a:t>4403 V</a:t>
            </a:r>
            <a:r>
              <a:rPr lang="sv-SE" sz="1200" b="1" i="1" err="1">
                <a:solidFill>
                  <a:srgbClr val="000000"/>
                </a:solidFill>
                <a:latin typeface="TimesNewRomanPS-BoldItalicMT"/>
              </a:rPr>
              <a:t>irke</a:t>
            </a:r>
            <a:r>
              <a:rPr lang="sv-SE" sz="1200" b="1" i="1">
                <a:solidFill>
                  <a:srgbClr val="000000"/>
                </a:solidFill>
                <a:latin typeface="TimesNewRomanPS-BoldItalicMT"/>
              </a:rPr>
              <a:t>, obearbetat, även barkat eller befriat från splintved eller bilat eller grovt sågat på två eller fyra sido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200" b="1" i="1" u="none" strike="noStrike" kern="1200" cap="none" spc="0" normalizeH="0" baseline="0" noProof="0">
              <a:ln>
                <a:noFill/>
              </a:ln>
              <a:solidFill>
                <a:srgbClr val="000000"/>
              </a:solidFill>
              <a:effectLst/>
              <a:uLnTx/>
              <a:uFillTx/>
              <a:latin typeface="TimesNewRomanPS-BoldItalicM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1" u="none" strike="noStrike" kern="1200" cap="none" spc="0" normalizeH="0" baseline="0" noProof="0">
                <a:ln>
                  <a:noFill/>
                </a:ln>
                <a:solidFill>
                  <a:srgbClr val="000000"/>
                </a:solidFill>
                <a:effectLst/>
                <a:uLnTx/>
                <a:uFillTx/>
                <a:latin typeface="TimesNewRomanPS-BoldItalicMT"/>
                <a:ea typeface="+mn-ea"/>
                <a:cs typeface="+mn-cs"/>
              </a:rPr>
              <a:t>4401 </a:t>
            </a:r>
            <a:r>
              <a:rPr lang="en-US" sz="1200" b="1" i="1">
                <a:solidFill>
                  <a:srgbClr val="000000"/>
                </a:solidFill>
                <a:latin typeface="TimesNewRomanPS-BoldItalicMT"/>
              </a:rPr>
              <a:t>B</a:t>
            </a:r>
            <a:r>
              <a:rPr lang="sv-SE" sz="1200" b="1" i="1" err="1">
                <a:solidFill>
                  <a:srgbClr val="000000"/>
                </a:solidFill>
                <a:latin typeface="TimesNewRomanPS-BoldItalicMT"/>
              </a:rPr>
              <a:t>rännved</a:t>
            </a:r>
            <a:r>
              <a:rPr lang="sv-SE" sz="1200" b="1" i="1">
                <a:solidFill>
                  <a:srgbClr val="000000"/>
                </a:solidFill>
                <a:latin typeface="TimesNewRomanPS-BoldItalicMT"/>
              </a:rPr>
              <a:t> i form av stockar, kubbar, vedträn, kvistar, risknippen e.d.; trä i form av flis eller spån; sågspån och annat träavfall, även agglomererat till vedträn, briketter, pelletar eller liknande former.</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b="1" i="1">
              <a:solidFill>
                <a:srgbClr val="000000"/>
              </a:solidFill>
              <a:latin typeface="TimesNewRomanPS-BoldItalicMT"/>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i="1">
                <a:solidFill>
                  <a:srgbClr val="000000"/>
                </a:solidFill>
                <a:latin typeface="TimesNewRomanPS-BoldItalicMT"/>
              </a:rPr>
              <a:t>För färdiga produkter tillkommer en mängd olika harmoniserade varukoder tex 4701 Mekanisk massa av ved.</a:t>
            </a:r>
          </a:p>
        </p:txBody>
      </p:sp>
      <p:sp>
        <p:nvSpPr>
          <p:cNvPr id="116" name="textruta 115">
            <a:extLst>
              <a:ext uri="{FF2B5EF4-FFF2-40B4-BE49-F238E27FC236}">
                <a16:creationId xmlns:a16="http://schemas.microsoft.com/office/drawing/2014/main" id="{099E233B-FCCB-3119-DC31-222DE786112F}"/>
              </a:ext>
            </a:extLst>
          </p:cNvPr>
          <p:cNvSpPr txBox="1"/>
          <p:nvPr/>
        </p:nvSpPr>
        <p:spPr>
          <a:xfrm>
            <a:off x="2558933" y="2817769"/>
            <a:ext cx="4621952" cy="181588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Noto Serif"/>
                <a:ea typeface="+mn-ea"/>
                <a:cs typeface="+mn-cs"/>
              </a:rPr>
              <a:t>För leveranser av blandad råvara (från tex flishög och terminal)</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En förenkling av vilka ursprungliga trakter som ska ingå måste göras. Olika modeller diskutera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Inget geografiskt ursprung rapporteras men däremot en lista på ingående referensnummer till tidigare trakter. </a:t>
            </a:r>
            <a:r>
              <a:rPr kumimoji="0" lang="sv-SE" sz="1400" b="1" i="0" u="none" strike="noStrike" kern="1200" cap="none" spc="0" normalizeH="0" baseline="0" noProof="0">
                <a:ln>
                  <a:noFill/>
                </a:ln>
                <a:solidFill>
                  <a:srgbClr val="000000"/>
                </a:solidFill>
                <a:effectLst/>
                <a:highlight>
                  <a:srgbClr val="FFFF00"/>
                </a:highlight>
                <a:uLnTx/>
                <a:uFillTx/>
                <a:latin typeface="Noto Serif"/>
                <a:ea typeface="+mn-ea"/>
                <a:cs typeface="+mn-cs"/>
              </a:rPr>
              <a:t>Ny eller uppdaterad VO/AO kommer att behövas löpande.</a:t>
            </a:r>
          </a:p>
        </p:txBody>
      </p:sp>
      <p:sp>
        <p:nvSpPr>
          <p:cNvPr id="2" name="textruta 1">
            <a:extLst>
              <a:ext uri="{FF2B5EF4-FFF2-40B4-BE49-F238E27FC236}">
                <a16:creationId xmlns:a16="http://schemas.microsoft.com/office/drawing/2014/main" id="{2C983736-610C-4C02-8A2C-7B6D34331D01}"/>
              </a:ext>
            </a:extLst>
          </p:cNvPr>
          <p:cNvSpPr txBox="1"/>
          <p:nvPr/>
        </p:nvSpPr>
        <p:spPr>
          <a:xfrm>
            <a:off x="2575716" y="4672563"/>
            <a:ext cx="4621952" cy="160043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1" i="0" u="none" strike="noStrike" kern="1200" cap="none" spc="0" normalizeH="0" baseline="0" noProof="0">
                <a:ln>
                  <a:noFill/>
                </a:ln>
                <a:solidFill>
                  <a:srgbClr val="000000"/>
                </a:solidFill>
                <a:effectLst/>
                <a:uLnTx/>
                <a:uFillTx/>
                <a:latin typeface="Noto Serif"/>
                <a:ea typeface="+mn-ea"/>
                <a:cs typeface="+mn-cs"/>
              </a:rPr>
              <a:t>En tåg eller båtleverans – flera olika trakter ingår</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Volymen avser hela volymen på tåget eller båten. En förenkling av vilka ursprungliga trakter som kan ingå måste göras. Inget geografiskt ursprung rapporteras men däremot en lista på referensnummer för ingående avverkningar</a:t>
            </a:r>
          </a:p>
        </p:txBody>
      </p:sp>
      <p:sp>
        <p:nvSpPr>
          <p:cNvPr id="8" name="Höger klammerparentes 7">
            <a:extLst>
              <a:ext uri="{FF2B5EF4-FFF2-40B4-BE49-F238E27FC236}">
                <a16:creationId xmlns:a16="http://schemas.microsoft.com/office/drawing/2014/main" id="{6BAFE97E-7915-6705-B9B0-D56990C17F1F}"/>
              </a:ext>
            </a:extLst>
          </p:cNvPr>
          <p:cNvSpPr/>
          <p:nvPr/>
        </p:nvSpPr>
        <p:spPr>
          <a:xfrm>
            <a:off x="6929166" y="1897957"/>
            <a:ext cx="562429" cy="4384855"/>
          </a:xfrm>
          <a:prstGeom prst="rightBrace">
            <a:avLst>
              <a:gd name="adj1" fmla="val 31059"/>
              <a:gd name="adj2" fmla="val 50000"/>
            </a:avLst>
          </a:prstGeom>
          <a:ln>
            <a:solidFill>
              <a:srgbClr val="007B4F"/>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Noto Serif"/>
              <a:ea typeface="+mn-ea"/>
              <a:cs typeface="+mn-cs"/>
            </a:endParaRPr>
          </a:p>
        </p:txBody>
      </p:sp>
      <p:pic>
        <p:nvPicPr>
          <p:cNvPr id="10" name="Bildobjekt 9" descr="En bild som visar Grafik, skärmbild, Färggrann, design&#10;&#10;Automatiskt genererad beskrivning">
            <a:extLst>
              <a:ext uri="{FF2B5EF4-FFF2-40B4-BE49-F238E27FC236}">
                <a16:creationId xmlns:a16="http://schemas.microsoft.com/office/drawing/2014/main" id="{AACECE54-461B-7FE6-39FE-A3A77A228325}"/>
              </a:ext>
            </a:extLst>
          </p:cNvPr>
          <p:cNvPicPr>
            <a:picLocks noChangeAspect="1"/>
          </p:cNvPicPr>
          <p:nvPr/>
        </p:nvPicPr>
        <p:blipFill>
          <a:blip r:embed="rId3"/>
          <a:stretch>
            <a:fillRect/>
          </a:stretch>
        </p:blipFill>
        <p:spPr>
          <a:xfrm>
            <a:off x="1101747" y="4692982"/>
            <a:ext cx="509092" cy="706739"/>
          </a:xfrm>
          <a:prstGeom prst="rect">
            <a:avLst/>
          </a:prstGeom>
        </p:spPr>
      </p:pic>
      <p:pic>
        <p:nvPicPr>
          <p:cNvPr id="12" name="Bildobjekt 11" descr="En bild som visar Grafik, design&#10;&#10;Automatiskt genererad beskrivning">
            <a:extLst>
              <a:ext uri="{FF2B5EF4-FFF2-40B4-BE49-F238E27FC236}">
                <a16:creationId xmlns:a16="http://schemas.microsoft.com/office/drawing/2014/main" id="{C0FCAAF8-5D74-B397-DE36-DD6BBDC02F0B}"/>
              </a:ext>
            </a:extLst>
          </p:cNvPr>
          <p:cNvPicPr>
            <a:picLocks noChangeAspect="1"/>
          </p:cNvPicPr>
          <p:nvPr/>
        </p:nvPicPr>
        <p:blipFill>
          <a:blip r:embed="rId4"/>
          <a:stretch>
            <a:fillRect/>
          </a:stretch>
        </p:blipFill>
        <p:spPr>
          <a:xfrm>
            <a:off x="1118317" y="1874491"/>
            <a:ext cx="694601" cy="681839"/>
          </a:xfrm>
          <a:prstGeom prst="rect">
            <a:avLst/>
          </a:prstGeom>
        </p:spPr>
      </p:pic>
      <p:pic>
        <p:nvPicPr>
          <p:cNvPr id="16" name="Bildobjekt 15" descr="En bild som visar rita, konst, clipart, Grafik&#10;&#10;Automatiskt genererad beskrivning">
            <a:extLst>
              <a:ext uri="{FF2B5EF4-FFF2-40B4-BE49-F238E27FC236}">
                <a16:creationId xmlns:a16="http://schemas.microsoft.com/office/drawing/2014/main" id="{0AADAA27-4AD1-C34D-93BF-9466F7E5C598}"/>
              </a:ext>
            </a:extLst>
          </p:cNvPr>
          <p:cNvPicPr>
            <a:picLocks noChangeAspect="1"/>
          </p:cNvPicPr>
          <p:nvPr/>
        </p:nvPicPr>
        <p:blipFill>
          <a:blip r:embed="rId5"/>
          <a:stretch>
            <a:fillRect/>
          </a:stretch>
        </p:blipFill>
        <p:spPr>
          <a:xfrm>
            <a:off x="984116" y="5548110"/>
            <a:ext cx="751860" cy="706293"/>
          </a:xfrm>
          <a:prstGeom prst="rect">
            <a:avLst/>
          </a:prstGeom>
        </p:spPr>
      </p:pic>
    </p:spTree>
    <p:extLst>
      <p:ext uri="{BB962C8B-B14F-4D97-AF65-F5344CB8AC3E}">
        <p14:creationId xmlns:p14="http://schemas.microsoft.com/office/powerpoint/2010/main" val="27394697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9322697A-33B6-35DB-F437-C7AA352B346D}"/>
              </a:ext>
            </a:extLst>
          </p:cNvPr>
          <p:cNvSpPr>
            <a:spLocks noGrp="1"/>
          </p:cNvSpPr>
          <p:nvPr>
            <p:ph type="title"/>
          </p:nvPr>
        </p:nvSpPr>
        <p:spPr>
          <a:xfrm>
            <a:off x="838200" y="365126"/>
            <a:ext cx="10515600" cy="666970"/>
          </a:xfrm>
        </p:spPr>
        <p:txBody>
          <a:bodyPr/>
          <a:lstStyle/>
          <a:p>
            <a:pPr algn="ctr"/>
            <a:r>
              <a:rPr lang="sv-SE"/>
              <a:t>Det är den här informationen som ska hanteras</a:t>
            </a:r>
          </a:p>
        </p:txBody>
      </p:sp>
      <p:graphicFrame>
        <p:nvGraphicFramePr>
          <p:cNvPr id="5" name="Diagram 4">
            <a:extLst>
              <a:ext uri="{FF2B5EF4-FFF2-40B4-BE49-F238E27FC236}">
                <a16:creationId xmlns:a16="http://schemas.microsoft.com/office/drawing/2014/main" id="{28072297-ED0F-3EEC-BCC9-D3FCBE038CDC}"/>
              </a:ext>
            </a:extLst>
          </p:cNvPr>
          <p:cNvGraphicFramePr/>
          <p:nvPr>
            <p:extLst>
              <p:ext uri="{D42A27DB-BD31-4B8C-83A1-F6EECF244321}">
                <p14:modId xmlns:p14="http://schemas.microsoft.com/office/powerpoint/2010/main" val="2531170081"/>
              </p:ext>
            </p:extLst>
          </p:nvPr>
        </p:nvGraphicFramePr>
        <p:xfrm>
          <a:off x="1914305" y="1074207"/>
          <a:ext cx="8128000" cy="5418667"/>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2" name="Rektangel: rundade hörn 1">
            <a:extLst>
              <a:ext uri="{FF2B5EF4-FFF2-40B4-BE49-F238E27FC236}">
                <a16:creationId xmlns:a16="http://schemas.microsoft.com/office/drawing/2014/main" id="{B062DDED-74CE-6B55-9595-0E2402CD5CD1}"/>
              </a:ext>
            </a:extLst>
          </p:cNvPr>
          <p:cNvSpPr/>
          <p:nvPr/>
        </p:nvSpPr>
        <p:spPr>
          <a:xfrm>
            <a:off x="1735750" y="992051"/>
            <a:ext cx="8485109" cy="5649361"/>
          </a:xfrm>
          <a:prstGeom prst="roundRect">
            <a:avLst>
              <a:gd name="adj" fmla="val 5207"/>
            </a:avLst>
          </a:prstGeom>
          <a:noFill/>
          <a:ln w="57150">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Tree>
    <p:extLst>
      <p:ext uri="{BB962C8B-B14F-4D97-AF65-F5344CB8AC3E}">
        <p14:creationId xmlns:p14="http://schemas.microsoft.com/office/powerpoint/2010/main" val="271393200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E7987BDD-06DE-EC10-7A51-8362A43F8FB7}"/>
              </a:ext>
            </a:extLst>
          </p:cNvPr>
          <p:cNvSpPr>
            <a:spLocks noGrp="1"/>
          </p:cNvSpPr>
          <p:nvPr>
            <p:ph type="title"/>
          </p:nvPr>
        </p:nvSpPr>
        <p:spPr>
          <a:xfrm>
            <a:off x="230738" y="-140549"/>
            <a:ext cx="10515600" cy="1325563"/>
          </a:xfrm>
        </p:spPr>
        <p:txBody>
          <a:bodyPr/>
          <a:lstStyle/>
          <a:p>
            <a:pPr algn="ctr"/>
            <a:r>
              <a:rPr lang="sv-SE"/>
              <a:t>Anmälan sker alltså per Harmoniserad varukod</a:t>
            </a:r>
          </a:p>
        </p:txBody>
      </p:sp>
      <p:pic>
        <p:nvPicPr>
          <p:cNvPr id="4" name="Bildobjekt 3">
            <a:extLst>
              <a:ext uri="{FF2B5EF4-FFF2-40B4-BE49-F238E27FC236}">
                <a16:creationId xmlns:a16="http://schemas.microsoft.com/office/drawing/2014/main" id="{097FD3EB-CF43-5A19-61BE-73CC9BB37262}"/>
              </a:ext>
            </a:extLst>
          </p:cNvPr>
          <p:cNvPicPr>
            <a:picLocks noChangeAspect="1"/>
          </p:cNvPicPr>
          <p:nvPr/>
        </p:nvPicPr>
        <p:blipFill>
          <a:blip r:embed="rId2"/>
          <a:stretch>
            <a:fillRect/>
          </a:stretch>
        </p:blipFill>
        <p:spPr>
          <a:xfrm>
            <a:off x="2432199" y="1185014"/>
            <a:ext cx="5784701" cy="4577120"/>
          </a:xfrm>
          <a:prstGeom prst="rect">
            <a:avLst/>
          </a:prstGeom>
        </p:spPr>
      </p:pic>
      <p:sp>
        <p:nvSpPr>
          <p:cNvPr id="5" name="Ellips 4">
            <a:extLst>
              <a:ext uri="{FF2B5EF4-FFF2-40B4-BE49-F238E27FC236}">
                <a16:creationId xmlns:a16="http://schemas.microsoft.com/office/drawing/2014/main" id="{380B527C-7D2B-2051-A349-BCAD444922EF}"/>
              </a:ext>
            </a:extLst>
          </p:cNvPr>
          <p:cNvSpPr/>
          <p:nvPr/>
        </p:nvSpPr>
        <p:spPr>
          <a:xfrm>
            <a:off x="2432199" y="3607429"/>
            <a:ext cx="1674892" cy="787651"/>
          </a:xfrm>
          <a:prstGeom prst="ellipse">
            <a:avLst/>
          </a:prstGeom>
          <a:noFill/>
          <a:ln w="28575">
            <a:solidFill>
              <a:srgbClr val="FF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sv-SE"/>
          </a:p>
        </p:txBody>
      </p:sp>
      <p:sp>
        <p:nvSpPr>
          <p:cNvPr id="3" name="textruta 2">
            <a:extLst>
              <a:ext uri="{FF2B5EF4-FFF2-40B4-BE49-F238E27FC236}">
                <a16:creationId xmlns:a16="http://schemas.microsoft.com/office/drawing/2014/main" id="{0A8D876C-A019-EFC3-EC44-4C52D039F963}"/>
              </a:ext>
            </a:extLst>
          </p:cNvPr>
          <p:cNvSpPr txBox="1"/>
          <p:nvPr/>
        </p:nvSpPr>
        <p:spPr>
          <a:xfrm>
            <a:off x="1098550" y="5956300"/>
            <a:ext cx="9429750" cy="646331"/>
          </a:xfrm>
          <a:prstGeom prst="rect">
            <a:avLst/>
          </a:prstGeom>
          <a:noFill/>
        </p:spPr>
        <p:txBody>
          <a:bodyPr wrap="square" rtlCol="0">
            <a:spAutoFit/>
          </a:bodyPr>
          <a:lstStyle/>
          <a:p>
            <a:r>
              <a:rPr lang="sv-SE" sz="1200"/>
              <a:t>En komplett och detaljerad lista på alla harmoniserade varukoder finns här:</a:t>
            </a:r>
          </a:p>
          <a:p>
            <a:r>
              <a:rPr lang="sv-SE" sz="1200">
                <a:hlinkClick r:id="rId3"/>
              </a:rPr>
              <a:t>Kommissionens genomförandeförordning (EU) 2023/2364 av den 15 oktober 2023 om ändring av bilaga I till rådets förordning (EEG) nr 2658/87 om tulltaxe- och statistiknomenklaturen och om Gemensamma tulltaxan (europa.eu)</a:t>
            </a:r>
            <a:endParaRPr lang="sv-SE" sz="1200"/>
          </a:p>
        </p:txBody>
      </p:sp>
    </p:spTree>
    <p:extLst>
      <p:ext uri="{BB962C8B-B14F-4D97-AF65-F5344CB8AC3E}">
        <p14:creationId xmlns:p14="http://schemas.microsoft.com/office/powerpoint/2010/main" val="1109990766"/>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5F3057BB-75C0-812D-0492-7FA966CD7FDA}"/>
              </a:ext>
            </a:extLst>
          </p:cNvPr>
          <p:cNvSpPr>
            <a:spLocks noGrp="1"/>
          </p:cNvSpPr>
          <p:nvPr>
            <p:ph type="title"/>
          </p:nvPr>
        </p:nvSpPr>
        <p:spPr/>
        <p:txBody>
          <a:bodyPr>
            <a:normAutofit/>
          </a:bodyPr>
          <a:lstStyle/>
          <a:p>
            <a:r>
              <a:rPr lang="sv-SE" sz="2200"/>
              <a:t>SKOGSSTYRELSEN SKA ORDNA UTBILDNINGAR I WEBBGRÄNSSNITTET I HÖST</a:t>
            </a:r>
          </a:p>
        </p:txBody>
      </p:sp>
      <p:sp>
        <p:nvSpPr>
          <p:cNvPr id="5" name="textruta 4">
            <a:extLst>
              <a:ext uri="{FF2B5EF4-FFF2-40B4-BE49-F238E27FC236}">
                <a16:creationId xmlns:a16="http://schemas.microsoft.com/office/drawing/2014/main" id="{0B42680F-D9DB-7A84-3516-127F64EE5729}"/>
              </a:ext>
            </a:extLst>
          </p:cNvPr>
          <p:cNvSpPr txBox="1"/>
          <p:nvPr/>
        </p:nvSpPr>
        <p:spPr>
          <a:xfrm>
            <a:off x="995881" y="6132658"/>
            <a:ext cx="11805719" cy="307777"/>
          </a:xfrm>
          <a:prstGeom prst="rect">
            <a:avLst/>
          </a:prstGeom>
          <a:noFill/>
        </p:spPr>
        <p:txBody>
          <a:bodyPr wrap="square" rtlCol="0">
            <a:spAutoFit/>
          </a:bodyPr>
          <a:lstStyle/>
          <a:p>
            <a:r>
              <a:rPr lang="sv-SE" sz="1400">
                <a:solidFill>
                  <a:srgbClr val="0070C0"/>
                </a:solidFill>
              </a:rPr>
              <a:t>https://green-business.ec.europa.eu/deforestation-regulation-implementation/deforestation-due-diligence-registry_en</a:t>
            </a:r>
          </a:p>
        </p:txBody>
      </p:sp>
      <p:pic>
        <p:nvPicPr>
          <p:cNvPr id="6" name="Bildobjekt 5">
            <a:extLst>
              <a:ext uri="{FF2B5EF4-FFF2-40B4-BE49-F238E27FC236}">
                <a16:creationId xmlns:a16="http://schemas.microsoft.com/office/drawing/2014/main" id="{67608ED4-2C33-C5B0-400E-4D86B41236C7}"/>
              </a:ext>
            </a:extLst>
          </p:cNvPr>
          <p:cNvPicPr>
            <a:picLocks noChangeAspect="1"/>
          </p:cNvPicPr>
          <p:nvPr/>
        </p:nvPicPr>
        <p:blipFill>
          <a:blip r:embed="rId2"/>
          <a:stretch>
            <a:fillRect/>
          </a:stretch>
        </p:blipFill>
        <p:spPr>
          <a:xfrm>
            <a:off x="2679115" y="1335918"/>
            <a:ext cx="6063313" cy="4650918"/>
          </a:xfrm>
          <a:prstGeom prst="rect">
            <a:avLst/>
          </a:prstGeom>
        </p:spPr>
      </p:pic>
    </p:spTree>
    <p:extLst>
      <p:ext uri="{BB962C8B-B14F-4D97-AF65-F5344CB8AC3E}">
        <p14:creationId xmlns:p14="http://schemas.microsoft.com/office/powerpoint/2010/main" val="2649160507"/>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F0451400-5CE2-7A52-00E2-4A6C20487420}"/>
              </a:ext>
            </a:extLst>
          </p:cNvPr>
          <p:cNvSpPr>
            <a:spLocks noGrp="1"/>
          </p:cNvSpPr>
          <p:nvPr>
            <p:ph idx="1"/>
          </p:nvPr>
        </p:nvSpPr>
        <p:spPr>
          <a:xfrm>
            <a:off x="5719864" y="1760706"/>
            <a:ext cx="5633936" cy="4188402"/>
          </a:xfrm>
        </p:spPr>
        <p:txBody>
          <a:bodyPr/>
          <a:lstStyle/>
          <a:p>
            <a:pPr lvl="1"/>
            <a:r>
              <a:rPr lang="sv-SE" sz="1200">
                <a:solidFill>
                  <a:schemeClr val="tx1"/>
                </a:solidFill>
              </a:rPr>
              <a:t>Från och med 2024-12-30 är det obligatoriskt att ha information om EUDR i Virkesordern</a:t>
            </a:r>
            <a:endParaRPr lang="sv-SE" sz="1200"/>
          </a:p>
          <a:p>
            <a:pPr lvl="2">
              <a:buBlip>
                <a:blip r:embed="rId3"/>
              </a:buBlip>
            </a:pPr>
            <a:r>
              <a:rPr lang="sv-SE" sz="1200" b="1"/>
              <a:t>EUDR-referensnummer</a:t>
            </a:r>
            <a:r>
              <a:rPr lang="sv-SE" sz="1200"/>
              <a:t> (14 positioner och alfanumeriskt) tillsammans med </a:t>
            </a:r>
            <a:r>
              <a:rPr lang="sv-SE" sz="1200" b="1"/>
              <a:t>EUDR-verifikationsnummer</a:t>
            </a:r>
            <a:r>
              <a:rPr lang="sv-SE" sz="1200"/>
              <a:t> (8 positioner och alfanumeriskt) </a:t>
            </a:r>
          </a:p>
          <a:p>
            <a:pPr lvl="2" indent="-175895">
              <a:buBlip>
                <a:blip r:embed="rId3"/>
              </a:buBlip>
            </a:pPr>
            <a:r>
              <a:rPr lang="sv-SE" sz="1200">
                <a:solidFill>
                  <a:schemeClr val="tx1"/>
                </a:solidFill>
              </a:rPr>
              <a:t>Alternativt anges </a:t>
            </a:r>
            <a:r>
              <a:rPr lang="sv-SE" sz="1200" b="1"/>
              <a:t>EUDR-stöd ej begärt </a:t>
            </a:r>
            <a:r>
              <a:rPr lang="sv-SE" sz="1200"/>
              <a:t>– en flagga i systemet som indikerar att användaren medvetet valt att utelämna referens och verifikationsnummer</a:t>
            </a:r>
          </a:p>
          <a:p>
            <a:pPr indent="-175895"/>
            <a:r>
              <a:rPr lang="sv-SE" sz="1200">
                <a:solidFill>
                  <a:schemeClr val="tx1"/>
                </a:solidFill>
              </a:rPr>
              <a:t>Utan någon av dessa uppgifter kan Virkesordern inte sparas varken i Viols virkesorderklient eller vid integration från eget verksamhetssystem och gäller både vid skapande av ny Virkesorder men även vid uppdatering av en befintlig</a:t>
            </a:r>
          </a:p>
          <a:p>
            <a:pPr indent="-175895"/>
            <a:r>
              <a:rPr lang="sv-SE" sz="1200" b="1"/>
              <a:t>Kontakta din IT-leverantör </a:t>
            </a:r>
            <a:r>
              <a:rPr lang="sv-SE" sz="1200"/>
              <a:t>eller din IT-avdelning för att säkerställa att dessa informationsmängder finns i era verksamhetssystem</a:t>
            </a:r>
            <a:endParaRPr lang="sv-SE" sz="1200">
              <a:solidFill>
                <a:schemeClr val="tx1"/>
              </a:solidFill>
            </a:endParaRPr>
          </a:p>
          <a:p>
            <a:pPr indent="-175895"/>
            <a:endParaRPr lang="sv-SE">
              <a:solidFill>
                <a:schemeClr val="tx1"/>
              </a:solidFill>
            </a:endParaRPr>
          </a:p>
          <a:p>
            <a:endParaRPr lang="sv-SE"/>
          </a:p>
        </p:txBody>
      </p:sp>
      <p:sp>
        <p:nvSpPr>
          <p:cNvPr id="3" name="Rubrik 2">
            <a:extLst>
              <a:ext uri="{FF2B5EF4-FFF2-40B4-BE49-F238E27FC236}">
                <a16:creationId xmlns:a16="http://schemas.microsoft.com/office/drawing/2014/main" id="{1A6F5C5E-57D8-1699-B182-472AB1578E88}"/>
              </a:ext>
            </a:extLst>
          </p:cNvPr>
          <p:cNvSpPr>
            <a:spLocks noGrp="1"/>
          </p:cNvSpPr>
          <p:nvPr>
            <p:ph type="title"/>
          </p:nvPr>
        </p:nvSpPr>
        <p:spPr/>
        <p:txBody>
          <a:bodyPr/>
          <a:lstStyle/>
          <a:p>
            <a:r>
              <a:rPr lang="sv-SE">
                <a:solidFill>
                  <a:schemeClr val="tx1"/>
                </a:solidFill>
              </a:rPr>
              <a:t>UPPGIFTER I VIRKESORDERN BLIR OBLIGATORISKT 2024-12-30</a:t>
            </a:r>
          </a:p>
        </p:txBody>
      </p:sp>
      <p:pic>
        <p:nvPicPr>
          <p:cNvPr id="5" name="Bildobjekt 4" descr="En bild som visar text, skärmbild, skärm, nummer&#10;&#10;Automatiskt genererad beskrivning">
            <a:extLst>
              <a:ext uri="{FF2B5EF4-FFF2-40B4-BE49-F238E27FC236}">
                <a16:creationId xmlns:a16="http://schemas.microsoft.com/office/drawing/2014/main" id="{C03AFAF2-F29F-A056-72BE-2A3F5805CC6F}"/>
              </a:ext>
            </a:extLst>
          </p:cNvPr>
          <p:cNvPicPr>
            <a:picLocks noChangeAspect="1"/>
          </p:cNvPicPr>
          <p:nvPr/>
        </p:nvPicPr>
        <p:blipFill>
          <a:blip r:embed="rId4"/>
          <a:stretch>
            <a:fillRect/>
          </a:stretch>
        </p:blipFill>
        <p:spPr>
          <a:xfrm>
            <a:off x="836447" y="1998245"/>
            <a:ext cx="4623636" cy="3282617"/>
          </a:xfrm>
          <a:prstGeom prst="rect">
            <a:avLst/>
          </a:prstGeom>
        </p:spPr>
      </p:pic>
    </p:spTree>
    <p:extLst>
      <p:ext uri="{BB962C8B-B14F-4D97-AF65-F5344CB8AC3E}">
        <p14:creationId xmlns:p14="http://schemas.microsoft.com/office/powerpoint/2010/main" val="2310578694"/>
      </p:ext>
    </p:extLst>
  </p:cSld>
  <p:clrMapOvr>
    <a:overrideClrMapping bg1="lt1" tx1="dk1" bg2="lt2" tx2="dk2" accent1="accent1" accent2="accent2" accent3="accent3" accent4="accent4" accent5="accent5" accent6="accent6" hlink="hlink" folHlink="folHlink"/>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AA04-CE07-5D84-4D48-32A9623E2844}"/>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E1A3F83D-7D11-3BB6-5138-3A0A000442F1}"/>
              </a:ext>
            </a:extLst>
          </p:cNvPr>
          <p:cNvSpPr>
            <a:spLocks noGrp="1"/>
          </p:cNvSpPr>
          <p:nvPr>
            <p:ph type="title"/>
          </p:nvPr>
        </p:nvSpPr>
        <p:spPr>
          <a:xfrm>
            <a:off x="577648" y="-35971"/>
            <a:ext cx="10515600" cy="1159518"/>
          </a:xfrm>
        </p:spPr>
        <p:txBody>
          <a:bodyPr>
            <a:normAutofit/>
          </a:bodyPr>
          <a:lstStyle/>
          <a:p>
            <a:r>
              <a:rPr lang="sv-SE" sz="1800" b="0">
                <a:latin typeface="Open Sans"/>
                <a:ea typeface="Open Sans"/>
                <a:cs typeface="Open Sans"/>
              </a:rPr>
              <a:t>FÖR VARJE MOTTAGNINGSPLATS/TERMINAL DÄR EN AKTÖR TAGIT EMOT SKOGSRÅVARA KOMMER DET ATT I VIOL GÅ ATT TA UT EN LISTA PÅ ALLA LEVERANSER OCH SAMMA INFORMATION FINNS MED I INTEGRATIONERNA UT TILL FÖRETAGENS VERKSAMHETSSYSTEM</a:t>
            </a:r>
            <a:endParaRPr lang="en-US" sz="1800" b="0">
              <a:latin typeface="Open Sans"/>
              <a:ea typeface="Open Sans"/>
              <a:cs typeface="Open Sans"/>
            </a:endParaRPr>
          </a:p>
        </p:txBody>
      </p:sp>
      <p:sp>
        <p:nvSpPr>
          <p:cNvPr id="49" name="Rektangel 48">
            <a:extLst>
              <a:ext uri="{FF2B5EF4-FFF2-40B4-BE49-F238E27FC236}">
                <a16:creationId xmlns:a16="http://schemas.microsoft.com/office/drawing/2014/main" id="{E33EAB7A-4370-7A21-B8B3-630137317F61}"/>
              </a:ext>
            </a:extLst>
          </p:cNvPr>
          <p:cNvSpPr/>
          <p:nvPr/>
        </p:nvSpPr>
        <p:spPr>
          <a:xfrm>
            <a:off x="1649235" y="2415297"/>
            <a:ext cx="2002869"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1, 45 m3, apr 1</a:t>
            </a:r>
          </a:p>
        </p:txBody>
      </p:sp>
      <p:sp>
        <p:nvSpPr>
          <p:cNvPr id="50" name="Rektangel 49">
            <a:extLst>
              <a:ext uri="{FF2B5EF4-FFF2-40B4-BE49-F238E27FC236}">
                <a16:creationId xmlns:a16="http://schemas.microsoft.com/office/drawing/2014/main" id="{A519F733-EAA6-8119-466D-87DC3B30C021}"/>
              </a:ext>
            </a:extLst>
          </p:cNvPr>
          <p:cNvSpPr/>
          <p:nvPr/>
        </p:nvSpPr>
        <p:spPr>
          <a:xfrm>
            <a:off x="1660690" y="2775133"/>
            <a:ext cx="1988088"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2, 43 m3, apr 1</a:t>
            </a:r>
          </a:p>
        </p:txBody>
      </p:sp>
      <p:sp>
        <p:nvSpPr>
          <p:cNvPr id="51" name="Rektangel 50">
            <a:extLst>
              <a:ext uri="{FF2B5EF4-FFF2-40B4-BE49-F238E27FC236}">
                <a16:creationId xmlns:a16="http://schemas.microsoft.com/office/drawing/2014/main" id="{2358A4BC-3574-3FE7-DF4A-C614402305EF}"/>
              </a:ext>
            </a:extLst>
          </p:cNvPr>
          <p:cNvSpPr/>
          <p:nvPr/>
        </p:nvSpPr>
        <p:spPr>
          <a:xfrm>
            <a:off x="1649235" y="3141652"/>
            <a:ext cx="2002868"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3, 46 m3, apr 4</a:t>
            </a:r>
          </a:p>
        </p:txBody>
      </p:sp>
      <p:sp>
        <p:nvSpPr>
          <p:cNvPr id="52" name="Rektangel 51">
            <a:extLst>
              <a:ext uri="{FF2B5EF4-FFF2-40B4-BE49-F238E27FC236}">
                <a16:creationId xmlns:a16="http://schemas.microsoft.com/office/drawing/2014/main" id="{C092BA72-B655-1918-CD34-715250606621}"/>
              </a:ext>
            </a:extLst>
          </p:cNvPr>
          <p:cNvSpPr/>
          <p:nvPr/>
        </p:nvSpPr>
        <p:spPr>
          <a:xfrm>
            <a:off x="1654052" y="3508982"/>
            <a:ext cx="1996652"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4, 43 m3, apr 8</a:t>
            </a:r>
          </a:p>
        </p:txBody>
      </p:sp>
      <p:sp>
        <p:nvSpPr>
          <p:cNvPr id="54" name="Rektangel 53">
            <a:extLst>
              <a:ext uri="{FF2B5EF4-FFF2-40B4-BE49-F238E27FC236}">
                <a16:creationId xmlns:a16="http://schemas.microsoft.com/office/drawing/2014/main" id="{B220EB02-4A8C-63C3-B4B6-F891A34031BA}"/>
              </a:ext>
            </a:extLst>
          </p:cNvPr>
          <p:cNvSpPr/>
          <p:nvPr/>
        </p:nvSpPr>
        <p:spPr>
          <a:xfrm>
            <a:off x="1649235" y="3871462"/>
            <a:ext cx="1996650"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5, 45 m3, apr 10</a:t>
            </a:r>
          </a:p>
        </p:txBody>
      </p:sp>
      <p:sp>
        <p:nvSpPr>
          <p:cNvPr id="55" name="Rektangel 54">
            <a:extLst>
              <a:ext uri="{FF2B5EF4-FFF2-40B4-BE49-F238E27FC236}">
                <a16:creationId xmlns:a16="http://schemas.microsoft.com/office/drawing/2014/main" id="{9DC459E8-9CF0-2DF7-9EC2-EAC426350A3E}"/>
              </a:ext>
            </a:extLst>
          </p:cNvPr>
          <p:cNvSpPr/>
          <p:nvPr/>
        </p:nvSpPr>
        <p:spPr>
          <a:xfrm>
            <a:off x="1638573" y="5190916"/>
            <a:ext cx="2007224"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7, 44 m3, apr 12</a:t>
            </a:r>
          </a:p>
        </p:txBody>
      </p:sp>
      <p:sp>
        <p:nvSpPr>
          <p:cNvPr id="56" name="Rektangel 55">
            <a:extLst>
              <a:ext uri="{FF2B5EF4-FFF2-40B4-BE49-F238E27FC236}">
                <a16:creationId xmlns:a16="http://schemas.microsoft.com/office/drawing/2014/main" id="{833EEA29-AE2D-82DA-C65D-76A1E4509AD4}"/>
              </a:ext>
            </a:extLst>
          </p:cNvPr>
          <p:cNvSpPr/>
          <p:nvPr/>
        </p:nvSpPr>
        <p:spPr>
          <a:xfrm>
            <a:off x="1632281" y="5940941"/>
            <a:ext cx="2007224"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9, 44 m3, apr 17</a:t>
            </a:r>
          </a:p>
        </p:txBody>
      </p:sp>
      <p:sp>
        <p:nvSpPr>
          <p:cNvPr id="57" name="Rektangel 56">
            <a:extLst>
              <a:ext uri="{FF2B5EF4-FFF2-40B4-BE49-F238E27FC236}">
                <a16:creationId xmlns:a16="http://schemas.microsoft.com/office/drawing/2014/main" id="{B3A0D312-E444-478F-F5B2-56768A2C88C4}"/>
              </a:ext>
            </a:extLst>
          </p:cNvPr>
          <p:cNvSpPr/>
          <p:nvPr/>
        </p:nvSpPr>
        <p:spPr>
          <a:xfrm>
            <a:off x="1632281" y="5572290"/>
            <a:ext cx="2007226" cy="238840"/>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8, 46 m3, apr 15</a:t>
            </a:r>
          </a:p>
        </p:txBody>
      </p:sp>
      <p:pic>
        <p:nvPicPr>
          <p:cNvPr id="8" name="Bildobjekt 7" descr="En bild som visar Grafik, design&#10;&#10;Automatiskt genererad beskrivning">
            <a:extLst>
              <a:ext uri="{FF2B5EF4-FFF2-40B4-BE49-F238E27FC236}">
                <a16:creationId xmlns:a16="http://schemas.microsoft.com/office/drawing/2014/main" id="{0DB71324-2B65-C2D8-9529-C8D36D909963}"/>
              </a:ext>
            </a:extLst>
          </p:cNvPr>
          <p:cNvPicPr>
            <a:picLocks noChangeAspect="1"/>
          </p:cNvPicPr>
          <p:nvPr/>
        </p:nvPicPr>
        <p:blipFill>
          <a:blip r:embed="rId3"/>
          <a:stretch>
            <a:fillRect/>
          </a:stretch>
        </p:blipFill>
        <p:spPr>
          <a:xfrm>
            <a:off x="718538" y="5260406"/>
            <a:ext cx="447145" cy="438930"/>
          </a:xfrm>
          <a:prstGeom prst="rect">
            <a:avLst/>
          </a:prstGeom>
        </p:spPr>
      </p:pic>
      <p:sp>
        <p:nvSpPr>
          <p:cNvPr id="23" name="Höger klammerparentes 22">
            <a:extLst>
              <a:ext uri="{FF2B5EF4-FFF2-40B4-BE49-F238E27FC236}">
                <a16:creationId xmlns:a16="http://schemas.microsoft.com/office/drawing/2014/main" id="{F361E7A9-26A5-5A5E-B67D-DA6EA3D9B985}"/>
              </a:ext>
            </a:extLst>
          </p:cNvPr>
          <p:cNvSpPr/>
          <p:nvPr/>
        </p:nvSpPr>
        <p:spPr>
          <a:xfrm rot="10800000">
            <a:off x="1270062" y="2391869"/>
            <a:ext cx="279374" cy="921211"/>
          </a:xfrm>
          <a:prstGeom prst="rightBrace">
            <a:avLst>
              <a:gd name="adj1" fmla="val 39391"/>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Höger klammerparentes 23">
            <a:extLst>
              <a:ext uri="{FF2B5EF4-FFF2-40B4-BE49-F238E27FC236}">
                <a16:creationId xmlns:a16="http://schemas.microsoft.com/office/drawing/2014/main" id="{7651C6DB-043B-D73C-F92F-0F563CA31A9F}"/>
              </a:ext>
            </a:extLst>
          </p:cNvPr>
          <p:cNvSpPr/>
          <p:nvPr/>
        </p:nvSpPr>
        <p:spPr>
          <a:xfrm rot="10800000">
            <a:off x="1252952" y="3471935"/>
            <a:ext cx="279374" cy="668809"/>
          </a:xfrm>
          <a:prstGeom prst="rightBrace">
            <a:avLst>
              <a:gd name="adj1" fmla="val 39391"/>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Höger klammerparentes 34">
            <a:extLst>
              <a:ext uri="{FF2B5EF4-FFF2-40B4-BE49-F238E27FC236}">
                <a16:creationId xmlns:a16="http://schemas.microsoft.com/office/drawing/2014/main" id="{2D236CD9-E200-07E5-2230-FE3B362D04D3}"/>
              </a:ext>
            </a:extLst>
          </p:cNvPr>
          <p:cNvSpPr/>
          <p:nvPr/>
        </p:nvSpPr>
        <p:spPr>
          <a:xfrm rot="10800000">
            <a:off x="1246557" y="5159954"/>
            <a:ext cx="279374" cy="668809"/>
          </a:xfrm>
          <a:prstGeom prst="rightBrace">
            <a:avLst>
              <a:gd name="adj1" fmla="val 32224"/>
              <a:gd name="adj2" fmla="val 5000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44" name="Rak koppling 43">
            <a:extLst>
              <a:ext uri="{FF2B5EF4-FFF2-40B4-BE49-F238E27FC236}">
                <a16:creationId xmlns:a16="http://schemas.microsoft.com/office/drawing/2014/main" id="{153F87D2-6032-8B56-DC1F-2894968A91C9}"/>
              </a:ext>
            </a:extLst>
          </p:cNvPr>
          <p:cNvCxnSpPr/>
          <p:nvPr/>
        </p:nvCxnSpPr>
        <p:spPr>
          <a:xfrm>
            <a:off x="1262776" y="6060361"/>
            <a:ext cx="262265" cy="0"/>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AC2BDE67-193B-6688-D242-7283EB696287}"/>
              </a:ext>
            </a:extLst>
          </p:cNvPr>
          <p:cNvSpPr txBox="1"/>
          <p:nvPr/>
        </p:nvSpPr>
        <p:spPr>
          <a:xfrm>
            <a:off x="652236" y="3013973"/>
            <a:ext cx="54052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grpSp>
        <p:nvGrpSpPr>
          <p:cNvPr id="21" name="Grupp 20">
            <a:extLst>
              <a:ext uri="{FF2B5EF4-FFF2-40B4-BE49-F238E27FC236}">
                <a16:creationId xmlns:a16="http://schemas.microsoft.com/office/drawing/2014/main" id="{7275AC4E-A5FD-E559-6286-83E1C6502E0A}"/>
              </a:ext>
            </a:extLst>
          </p:cNvPr>
          <p:cNvGrpSpPr/>
          <p:nvPr/>
        </p:nvGrpSpPr>
        <p:grpSpPr>
          <a:xfrm>
            <a:off x="5317591" y="3458935"/>
            <a:ext cx="1000911" cy="152528"/>
            <a:chOff x="3598517" y="6080782"/>
            <a:chExt cx="1000911" cy="152528"/>
          </a:xfrm>
        </p:grpSpPr>
        <p:pic>
          <p:nvPicPr>
            <p:cNvPr id="7" name="Bildobjekt 6">
              <a:extLst>
                <a:ext uri="{FF2B5EF4-FFF2-40B4-BE49-F238E27FC236}">
                  <a16:creationId xmlns:a16="http://schemas.microsoft.com/office/drawing/2014/main" id="{C1779247-6F5E-0272-591D-C237780764CE}"/>
                </a:ext>
              </a:extLst>
            </p:cNvPr>
            <p:cNvPicPr>
              <a:picLocks noChangeAspect="1"/>
            </p:cNvPicPr>
            <p:nvPr/>
          </p:nvPicPr>
          <p:blipFill>
            <a:blip r:embed="rId4"/>
            <a:stretch>
              <a:fillRect/>
            </a:stretch>
          </p:blipFill>
          <p:spPr>
            <a:xfrm>
              <a:off x="4145883" y="6087587"/>
              <a:ext cx="183786" cy="140119"/>
            </a:xfrm>
            <a:prstGeom prst="rect">
              <a:avLst/>
            </a:prstGeom>
          </p:spPr>
        </p:pic>
        <p:pic>
          <p:nvPicPr>
            <p:cNvPr id="9" name="Bildobjekt 8">
              <a:extLst>
                <a:ext uri="{FF2B5EF4-FFF2-40B4-BE49-F238E27FC236}">
                  <a16:creationId xmlns:a16="http://schemas.microsoft.com/office/drawing/2014/main" id="{DF5D0127-9AF6-D91A-E4FA-51E71963D16E}"/>
                </a:ext>
              </a:extLst>
            </p:cNvPr>
            <p:cNvPicPr>
              <a:picLocks noChangeAspect="1"/>
            </p:cNvPicPr>
            <p:nvPr/>
          </p:nvPicPr>
          <p:blipFill>
            <a:blip r:embed="rId4"/>
            <a:stretch>
              <a:fillRect/>
            </a:stretch>
          </p:blipFill>
          <p:spPr>
            <a:xfrm>
              <a:off x="4415642" y="6087587"/>
              <a:ext cx="183786" cy="140119"/>
            </a:xfrm>
            <a:prstGeom prst="rect">
              <a:avLst/>
            </a:prstGeom>
          </p:spPr>
        </p:pic>
        <p:pic>
          <p:nvPicPr>
            <p:cNvPr id="10" name="Bildobjekt 9">
              <a:extLst>
                <a:ext uri="{FF2B5EF4-FFF2-40B4-BE49-F238E27FC236}">
                  <a16:creationId xmlns:a16="http://schemas.microsoft.com/office/drawing/2014/main" id="{75907C3E-58B4-B4D7-511B-C8B1EA9E7F76}"/>
                </a:ext>
              </a:extLst>
            </p:cNvPr>
            <p:cNvPicPr>
              <a:picLocks noChangeAspect="1"/>
            </p:cNvPicPr>
            <p:nvPr/>
          </p:nvPicPr>
          <p:blipFill>
            <a:blip r:embed="rId4"/>
            <a:stretch>
              <a:fillRect/>
            </a:stretch>
          </p:blipFill>
          <p:spPr>
            <a:xfrm>
              <a:off x="3598517" y="6087586"/>
              <a:ext cx="191138" cy="145724"/>
            </a:xfrm>
            <a:prstGeom prst="rect">
              <a:avLst/>
            </a:prstGeom>
          </p:spPr>
        </p:pic>
        <p:pic>
          <p:nvPicPr>
            <p:cNvPr id="12" name="Bildobjekt 11">
              <a:extLst>
                <a:ext uri="{FF2B5EF4-FFF2-40B4-BE49-F238E27FC236}">
                  <a16:creationId xmlns:a16="http://schemas.microsoft.com/office/drawing/2014/main" id="{9A4798E7-0E59-7EFC-E620-0035C9207AAF}"/>
                </a:ext>
              </a:extLst>
            </p:cNvPr>
            <p:cNvPicPr>
              <a:picLocks noChangeAspect="1"/>
            </p:cNvPicPr>
            <p:nvPr/>
          </p:nvPicPr>
          <p:blipFill>
            <a:blip r:embed="rId4"/>
            <a:stretch>
              <a:fillRect/>
            </a:stretch>
          </p:blipFill>
          <p:spPr>
            <a:xfrm>
              <a:off x="3873287" y="6083859"/>
              <a:ext cx="183786" cy="140119"/>
            </a:xfrm>
            <a:prstGeom prst="rect">
              <a:avLst/>
            </a:prstGeom>
          </p:spPr>
        </p:pic>
        <p:pic>
          <p:nvPicPr>
            <p:cNvPr id="14" name="Bildobjekt 13">
              <a:extLst>
                <a:ext uri="{FF2B5EF4-FFF2-40B4-BE49-F238E27FC236}">
                  <a16:creationId xmlns:a16="http://schemas.microsoft.com/office/drawing/2014/main" id="{B9FB65D8-836A-28CF-4380-99FD72AE9E0D}"/>
                </a:ext>
              </a:extLst>
            </p:cNvPr>
            <p:cNvPicPr>
              <a:picLocks noChangeAspect="1"/>
            </p:cNvPicPr>
            <p:nvPr/>
          </p:nvPicPr>
          <p:blipFill>
            <a:blip r:embed="rId4"/>
            <a:stretch>
              <a:fillRect/>
            </a:stretch>
          </p:blipFill>
          <p:spPr>
            <a:xfrm rot="10800000">
              <a:off x="4291667" y="6087586"/>
              <a:ext cx="183786" cy="140119"/>
            </a:xfrm>
            <a:prstGeom prst="rect">
              <a:avLst/>
            </a:prstGeom>
          </p:spPr>
        </p:pic>
        <p:pic>
          <p:nvPicPr>
            <p:cNvPr id="15" name="Bildobjekt 14">
              <a:extLst>
                <a:ext uri="{FF2B5EF4-FFF2-40B4-BE49-F238E27FC236}">
                  <a16:creationId xmlns:a16="http://schemas.microsoft.com/office/drawing/2014/main" id="{E4F753AD-CBEE-8C8F-D79A-11F572988D21}"/>
                </a:ext>
              </a:extLst>
            </p:cNvPr>
            <p:cNvPicPr>
              <a:picLocks noChangeAspect="1"/>
            </p:cNvPicPr>
            <p:nvPr/>
          </p:nvPicPr>
          <p:blipFill>
            <a:blip r:embed="rId4"/>
            <a:stretch>
              <a:fillRect/>
            </a:stretch>
          </p:blipFill>
          <p:spPr>
            <a:xfrm rot="10800000">
              <a:off x="3738460" y="6080782"/>
              <a:ext cx="183786" cy="140119"/>
            </a:xfrm>
            <a:prstGeom prst="rect">
              <a:avLst/>
            </a:prstGeom>
          </p:spPr>
        </p:pic>
        <p:pic>
          <p:nvPicPr>
            <p:cNvPr id="16" name="Bildobjekt 15">
              <a:extLst>
                <a:ext uri="{FF2B5EF4-FFF2-40B4-BE49-F238E27FC236}">
                  <a16:creationId xmlns:a16="http://schemas.microsoft.com/office/drawing/2014/main" id="{623AE3B3-19BA-DACD-DB7F-A7AA8589F708}"/>
                </a:ext>
              </a:extLst>
            </p:cNvPr>
            <p:cNvPicPr>
              <a:picLocks noChangeAspect="1"/>
            </p:cNvPicPr>
            <p:nvPr/>
          </p:nvPicPr>
          <p:blipFill>
            <a:blip r:embed="rId4"/>
            <a:stretch>
              <a:fillRect/>
            </a:stretch>
          </p:blipFill>
          <p:spPr>
            <a:xfrm rot="10800000">
              <a:off x="4019703" y="6080783"/>
              <a:ext cx="183786" cy="140119"/>
            </a:xfrm>
            <a:prstGeom prst="rect">
              <a:avLst/>
            </a:prstGeom>
          </p:spPr>
        </p:pic>
      </p:grpSp>
      <p:sp>
        <p:nvSpPr>
          <p:cNvPr id="17" name="Rektangel 16">
            <a:extLst>
              <a:ext uri="{FF2B5EF4-FFF2-40B4-BE49-F238E27FC236}">
                <a16:creationId xmlns:a16="http://schemas.microsoft.com/office/drawing/2014/main" id="{01053BEB-C4E2-4515-9C7C-22223B579619}"/>
              </a:ext>
            </a:extLst>
          </p:cNvPr>
          <p:cNvSpPr/>
          <p:nvPr/>
        </p:nvSpPr>
        <p:spPr>
          <a:xfrm>
            <a:off x="1646772" y="4437094"/>
            <a:ext cx="1988531" cy="287957"/>
          </a:xfrm>
          <a:prstGeom prst="rect">
            <a:avLst/>
          </a:prstGeom>
          <a:solidFill>
            <a:srgbClr val="007B4F"/>
          </a:solidFill>
          <a:ln>
            <a:noFill/>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solidFill>
                <a:effectLst/>
                <a:uLnTx/>
                <a:uFillTx/>
                <a:latin typeface="Open Sans"/>
                <a:ea typeface="+mn-ea"/>
                <a:cs typeface="+mn-cs"/>
              </a:rPr>
              <a:t>Leverans 6, 3000 m3, apr 11</a:t>
            </a:r>
          </a:p>
        </p:txBody>
      </p:sp>
      <p:pic>
        <p:nvPicPr>
          <p:cNvPr id="5" name="Bildobjekt 4" descr="En bild som visar Grafik, skärmbild, Färggrann, design&#10;&#10;Automatiskt genererad beskrivning">
            <a:extLst>
              <a:ext uri="{FF2B5EF4-FFF2-40B4-BE49-F238E27FC236}">
                <a16:creationId xmlns:a16="http://schemas.microsoft.com/office/drawing/2014/main" id="{A4F0B8E6-0F4F-1916-EC60-A160739BFFEA}"/>
              </a:ext>
            </a:extLst>
          </p:cNvPr>
          <p:cNvPicPr>
            <a:picLocks noChangeAspect="1"/>
          </p:cNvPicPr>
          <p:nvPr/>
        </p:nvPicPr>
        <p:blipFill>
          <a:blip r:embed="rId5"/>
          <a:stretch>
            <a:fillRect/>
          </a:stretch>
        </p:blipFill>
        <p:spPr>
          <a:xfrm>
            <a:off x="708961" y="4309878"/>
            <a:ext cx="420343" cy="583535"/>
          </a:xfrm>
          <a:prstGeom prst="rect">
            <a:avLst/>
          </a:prstGeom>
        </p:spPr>
      </p:pic>
      <p:pic>
        <p:nvPicPr>
          <p:cNvPr id="25" name="Bildobjekt 24" descr="En bild som visar Grafik, grafisk design, Teckensnitt, Färggrann&#10;&#10;Automatiskt genererad beskrivning">
            <a:extLst>
              <a:ext uri="{FF2B5EF4-FFF2-40B4-BE49-F238E27FC236}">
                <a16:creationId xmlns:a16="http://schemas.microsoft.com/office/drawing/2014/main" id="{8FFF1786-8775-1D54-0708-406492305094}"/>
              </a:ext>
            </a:extLst>
          </p:cNvPr>
          <p:cNvPicPr>
            <a:picLocks noChangeAspect="1"/>
          </p:cNvPicPr>
          <p:nvPr/>
        </p:nvPicPr>
        <p:blipFill>
          <a:blip r:embed="rId6"/>
          <a:stretch>
            <a:fillRect/>
          </a:stretch>
        </p:blipFill>
        <p:spPr>
          <a:xfrm>
            <a:off x="5382187" y="1881033"/>
            <a:ext cx="936315" cy="773104"/>
          </a:xfrm>
          <a:prstGeom prst="rect">
            <a:avLst/>
          </a:prstGeom>
        </p:spPr>
      </p:pic>
      <p:sp>
        <p:nvSpPr>
          <p:cNvPr id="46" name="Rektangel 45">
            <a:extLst>
              <a:ext uri="{FF2B5EF4-FFF2-40B4-BE49-F238E27FC236}">
                <a16:creationId xmlns:a16="http://schemas.microsoft.com/office/drawing/2014/main" id="{E2D2B365-749B-15BB-1C79-2CD96C1CF726}"/>
              </a:ext>
            </a:extLst>
          </p:cNvPr>
          <p:cNvSpPr/>
          <p:nvPr/>
        </p:nvSpPr>
        <p:spPr>
          <a:xfrm>
            <a:off x="1660690" y="1977212"/>
            <a:ext cx="2003937" cy="238840"/>
          </a:xfrm>
          <a:prstGeom prst="rect">
            <a:avLst/>
          </a:prstGeom>
          <a:solidFill>
            <a:schemeClr val="accent1">
              <a:lumMod val="20000"/>
              <a:lumOff val="80000"/>
            </a:schemeClr>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lumMod val="50000"/>
                  </a:srgbClr>
                </a:solidFill>
                <a:effectLst/>
                <a:uLnTx/>
                <a:uFillTx/>
                <a:latin typeface="Open Sans"/>
                <a:ea typeface="+mn-ea"/>
                <a:cs typeface="+mn-cs"/>
              </a:rPr>
              <a:t>XXX</a:t>
            </a:r>
          </a:p>
        </p:txBody>
      </p:sp>
      <p:sp>
        <p:nvSpPr>
          <p:cNvPr id="47" name="Rektangel 46">
            <a:extLst>
              <a:ext uri="{FF2B5EF4-FFF2-40B4-BE49-F238E27FC236}">
                <a16:creationId xmlns:a16="http://schemas.microsoft.com/office/drawing/2014/main" id="{76534F95-5EA6-921F-3462-30468C1EDCD6}"/>
              </a:ext>
            </a:extLst>
          </p:cNvPr>
          <p:cNvSpPr/>
          <p:nvPr/>
        </p:nvSpPr>
        <p:spPr>
          <a:xfrm>
            <a:off x="1661758" y="1388380"/>
            <a:ext cx="2002869" cy="238840"/>
          </a:xfrm>
          <a:prstGeom prst="rect">
            <a:avLst/>
          </a:prstGeom>
          <a:solidFill>
            <a:schemeClr val="accent1">
              <a:lumMod val="20000"/>
              <a:lumOff val="80000"/>
            </a:schemeClr>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lumMod val="50000"/>
                  </a:srgbClr>
                </a:solidFill>
                <a:effectLst/>
                <a:uLnTx/>
                <a:uFillTx/>
                <a:latin typeface="Open Sans"/>
                <a:ea typeface="+mn-ea"/>
                <a:cs typeface="+mn-cs"/>
              </a:rPr>
              <a:t>XXX</a:t>
            </a:r>
          </a:p>
        </p:txBody>
      </p:sp>
      <p:sp>
        <p:nvSpPr>
          <p:cNvPr id="48" name="Rektangel 47">
            <a:extLst>
              <a:ext uri="{FF2B5EF4-FFF2-40B4-BE49-F238E27FC236}">
                <a16:creationId xmlns:a16="http://schemas.microsoft.com/office/drawing/2014/main" id="{CC6D531D-C787-5239-EE89-E2B681494F17}"/>
              </a:ext>
            </a:extLst>
          </p:cNvPr>
          <p:cNvSpPr/>
          <p:nvPr/>
        </p:nvSpPr>
        <p:spPr>
          <a:xfrm>
            <a:off x="1661758" y="1098759"/>
            <a:ext cx="2002869" cy="238840"/>
          </a:xfrm>
          <a:prstGeom prst="rect">
            <a:avLst/>
          </a:prstGeom>
          <a:solidFill>
            <a:schemeClr val="accent1">
              <a:lumMod val="20000"/>
              <a:lumOff val="80000"/>
            </a:schemeClr>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lumMod val="50000"/>
                  </a:srgbClr>
                </a:solidFill>
                <a:effectLst/>
                <a:uLnTx/>
                <a:uFillTx/>
                <a:latin typeface="Open Sans"/>
                <a:ea typeface="+mn-ea"/>
                <a:cs typeface="+mn-cs"/>
              </a:rPr>
              <a:t>XXX</a:t>
            </a:r>
          </a:p>
        </p:txBody>
      </p:sp>
      <p:sp>
        <p:nvSpPr>
          <p:cNvPr id="53" name="Rektangel 52">
            <a:extLst>
              <a:ext uri="{FF2B5EF4-FFF2-40B4-BE49-F238E27FC236}">
                <a16:creationId xmlns:a16="http://schemas.microsoft.com/office/drawing/2014/main" id="{81C45052-BAE2-44C8-E887-D08779B0087B}"/>
              </a:ext>
            </a:extLst>
          </p:cNvPr>
          <p:cNvSpPr/>
          <p:nvPr/>
        </p:nvSpPr>
        <p:spPr>
          <a:xfrm>
            <a:off x="1661758" y="1678657"/>
            <a:ext cx="2002869" cy="238840"/>
          </a:xfrm>
          <a:prstGeom prst="rect">
            <a:avLst/>
          </a:prstGeom>
          <a:solidFill>
            <a:schemeClr val="accent1">
              <a:lumMod val="20000"/>
              <a:lumOff val="80000"/>
            </a:schemeClr>
          </a:solidFill>
          <a:ln>
            <a:prstDash val="sysDash"/>
          </a:ln>
        </p:spPr>
        <p:style>
          <a:lnRef idx="2">
            <a:schemeClr val="accent1">
              <a:shade val="15000"/>
            </a:schemeClr>
          </a:lnRef>
          <a:fillRef idx="1">
            <a:schemeClr val="accent1"/>
          </a:fillRef>
          <a:effectRef idx="0">
            <a:schemeClr val="accent1"/>
          </a:effectRef>
          <a:fontRef idx="minor">
            <a:schemeClr val="lt1"/>
          </a:fontRef>
        </p:style>
        <p:txBody>
          <a:bodyPr lIns="72000" rIns="72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FFFFFF">
                    <a:lumMod val="50000"/>
                  </a:srgbClr>
                </a:solidFill>
                <a:effectLst/>
                <a:uLnTx/>
                <a:uFillTx/>
                <a:latin typeface="Open Sans"/>
                <a:ea typeface="+mn-ea"/>
                <a:cs typeface="+mn-cs"/>
              </a:rPr>
              <a:t>XXX</a:t>
            </a:r>
          </a:p>
        </p:txBody>
      </p:sp>
      <p:sp>
        <p:nvSpPr>
          <p:cNvPr id="58" name="textruta 57">
            <a:extLst>
              <a:ext uri="{FF2B5EF4-FFF2-40B4-BE49-F238E27FC236}">
                <a16:creationId xmlns:a16="http://schemas.microsoft.com/office/drawing/2014/main" id="{C1B047F2-8598-FBFA-8265-B26A87F9D964}"/>
              </a:ext>
            </a:extLst>
          </p:cNvPr>
          <p:cNvSpPr txBox="1"/>
          <p:nvPr/>
        </p:nvSpPr>
        <p:spPr>
          <a:xfrm>
            <a:off x="577648" y="3087003"/>
            <a:ext cx="776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EUDR ref A</a:t>
            </a:r>
          </a:p>
        </p:txBody>
      </p:sp>
      <p:sp>
        <p:nvSpPr>
          <p:cNvPr id="59" name="textruta 58">
            <a:extLst>
              <a:ext uri="{FF2B5EF4-FFF2-40B4-BE49-F238E27FC236}">
                <a16:creationId xmlns:a16="http://schemas.microsoft.com/office/drawing/2014/main" id="{771F7C6D-D15D-E14C-8325-B144F1A285A5}"/>
              </a:ext>
            </a:extLst>
          </p:cNvPr>
          <p:cNvSpPr txBox="1"/>
          <p:nvPr/>
        </p:nvSpPr>
        <p:spPr>
          <a:xfrm>
            <a:off x="534479" y="3937309"/>
            <a:ext cx="776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EUDR ref B</a:t>
            </a:r>
          </a:p>
        </p:txBody>
      </p:sp>
      <p:sp>
        <p:nvSpPr>
          <p:cNvPr id="60" name="textruta 59">
            <a:extLst>
              <a:ext uri="{FF2B5EF4-FFF2-40B4-BE49-F238E27FC236}">
                <a16:creationId xmlns:a16="http://schemas.microsoft.com/office/drawing/2014/main" id="{B23660BA-8648-9F41-C9B5-40DF44A3AC03}"/>
              </a:ext>
            </a:extLst>
          </p:cNvPr>
          <p:cNvSpPr txBox="1"/>
          <p:nvPr/>
        </p:nvSpPr>
        <p:spPr>
          <a:xfrm>
            <a:off x="531112" y="4922124"/>
            <a:ext cx="776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EUDR ref C</a:t>
            </a:r>
          </a:p>
        </p:txBody>
      </p:sp>
      <p:sp>
        <p:nvSpPr>
          <p:cNvPr id="62" name="textruta 61">
            <a:extLst>
              <a:ext uri="{FF2B5EF4-FFF2-40B4-BE49-F238E27FC236}">
                <a16:creationId xmlns:a16="http://schemas.microsoft.com/office/drawing/2014/main" id="{0EA9CFBD-8761-3C9C-5847-297B0E8EE9FB}"/>
              </a:ext>
            </a:extLst>
          </p:cNvPr>
          <p:cNvSpPr txBox="1"/>
          <p:nvPr/>
        </p:nvSpPr>
        <p:spPr>
          <a:xfrm>
            <a:off x="531112" y="5658542"/>
            <a:ext cx="776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EUDR ref D</a:t>
            </a:r>
          </a:p>
        </p:txBody>
      </p:sp>
      <p:sp>
        <p:nvSpPr>
          <p:cNvPr id="63" name="textruta 62">
            <a:extLst>
              <a:ext uri="{FF2B5EF4-FFF2-40B4-BE49-F238E27FC236}">
                <a16:creationId xmlns:a16="http://schemas.microsoft.com/office/drawing/2014/main" id="{8AF9042F-6D12-1583-159F-1765C33C8C5E}"/>
              </a:ext>
            </a:extLst>
          </p:cNvPr>
          <p:cNvSpPr txBox="1"/>
          <p:nvPr/>
        </p:nvSpPr>
        <p:spPr>
          <a:xfrm>
            <a:off x="555764" y="6551711"/>
            <a:ext cx="776040" cy="2308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EUDR ref E</a:t>
            </a:r>
          </a:p>
        </p:txBody>
      </p:sp>
      <p:cxnSp>
        <p:nvCxnSpPr>
          <p:cNvPr id="37" name="Rak koppling 36">
            <a:extLst>
              <a:ext uri="{FF2B5EF4-FFF2-40B4-BE49-F238E27FC236}">
                <a16:creationId xmlns:a16="http://schemas.microsoft.com/office/drawing/2014/main" id="{2C866BA8-F46F-0383-508A-1568957D8532}"/>
              </a:ext>
            </a:extLst>
          </p:cNvPr>
          <p:cNvCxnSpPr>
            <a:cxnSpLocks/>
          </p:cNvCxnSpPr>
          <p:nvPr/>
        </p:nvCxnSpPr>
        <p:spPr>
          <a:xfrm flipV="1">
            <a:off x="3953447" y="5155974"/>
            <a:ext cx="2117581" cy="870939"/>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42" name="textruta 41">
            <a:extLst>
              <a:ext uri="{FF2B5EF4-FFF2-40B4-BE49-F238E27FC236}">
                <a16:creationId xmlns:a16="http://schemas.microsoft.com/office/drawing/2014/main" id="{02E74EC2-C7DA-B953-448E-81071A09F10B}"/>
              </a:ext>
            </a:extLst>
          </p:cNvPr>
          <p:cNvSpPr txBox="1"/>
          <p:nvPr/>
        </p:nvSpPr>
        <p:spPr>
          <a:xfrm>
            <a:off x="4996347" y="2711918"/>
            <a:ext cx="166864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Industri/värmeverk</a:t>
            </a:r>
          </a:p>
        </p:txBody>
      </p:sp>
      <p:sp>
        <p:nvSpPr>
          <p:cNvPr id="45" name="textruta 44">
            <a:extLst>
              <a:ext uri="{FF2B5EF4-FFF2-40B4-BE49-F238E27FC236}">
                <a16:creationId xmlns:a16="http://schemas.microsoft.com/office/drawing/2014/main" id="{AFB5228D-D2FF-20CB-2808-C44ADE26A75A}"/>
              </a:ext>
            </a:extLst>
          </p:cNvPr>
          <p:cNvSpPr txBox="1"/>
          <p:nvPr/>
        </p:nvSpPr>
        <p:spPr>
          <a:xfrm>
            <a:off x="4904454" y="3720278"/>
            <a:ext cx="1668645"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Terminal</a:t>
            </a:r>
          </a:p>
        </p:txBody>
      </p:sp>
      <p:sp>
        <p:nvSpPr>
          <p:cNvPr id="64" name="textruta 63">
            <a:extLst>
              <a:ext uri="{FF2B5EF4-FFF2-40B4-BE49-F238E27FC236}">
                <a16:creationId xmlns:a16="http://schemas.microsoft.com/office/drawing/2014/main" id="{AEF1F7B8-51B5-D43C-BB61-73F4022382B6}"/>
              </a:ext>
            </a:extLst>
          </p:cNvPr>
          <p:cNvSpPr txBox="1"/>
          <p:nvPr/>
        </p:nvSpPr>
        <p:spPr>
          <a:xfrm>
            <a:off x="6249351" y="4502568"/>
            <a:ext cx="3204839" cy="1200329"/>
          </a:xfrm>
          <a:prstGeom prst="rect">
            <a:avLst/>
          </a:prstGeom>
          <a:noFill/>
          <a:ln>
            <a:solidFill>
              <a:srgbClr val="007B4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1" i="0" u="none" strike="noStrike" kern="1200" cap="none" spc="0" normalizeH="0" baseline="0" noProof="0">
                <a:ln>
                  <a:noFill/>
                </a:ln>
                <a:solidFill>
                  <a:srgbClr val="000000"/>
                </a:solidFill>
                <a:effectLst/>
                <a:uLnTx/>
                <a:uFillTx/>
                <a:latin typeface="Open Sans"/>
                <a:ea typeface="+mn-ea"/>
                <a:cs typeface="+mn-cs"/>
              </a:rPr>
              <a:t>Varje enskild leverans kan ha:</a:t>
            </a:r>
          </a:p>
          <a:p>
            <a:pPr marL="17145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Ett EUDR referensnummer</a:t>
            </a:r>
          </a:p>
          <a:p>
            <a:pPr marL="17145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Ett EUDR verifikationsnummer</a:t>
            </a:r>
          </a:p>
          <a:p>
            <a:pPr marL="17145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En ”flagga” som kan anges om EUDR-referenser medvetet utelämnats</a:t>
            </a:r>
          </a:p>
          <a:p>
            <a:pPr marL="171450" marR="0" lvl="0" indent="-171450" algn="l" defTabSz="914400" rtl="0" eaLnBrk="1" fontAlgn="auto" latinLnBrk="0" hangingPunct="1">
              <a:lnSpc>
                <a:spcPct val="100000"/>
              </a:lnSpc>
              <a:spcBef>
                <a:spcPts val="0"/>
              </a:spcBef>
              <a:spcAft>
                <a:spcPts val="0"/>
              </a:spcAft>
              <a:buClrTx/>
              <a:buSzTx/>
              <a:buFont typeface="Open Sans" panose="020B0606030504020204" pitchFamily="34" charset="0"/>
              <a:buChar char="-"/>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En kvantitet</a:t>
            </a:r>
          </a:p>
        </p:txBody>
      </p:sp>
      <p:sp>
        <p:nvSpPr>
          <p:cNvPr id="65" name="Höger klammerparentes 64">
            <a:extLst>
              <a:ext uri="{FF2B5EF4-FFF2-40B4-BE49-F238E27FC236}">
                <a16:creationId xmlns:a16="http://schemas.microsoft.com/office/drawing/2014/main" id="{F143B97E-179A-A76E-3525-782409CA7F37}"/>
              </a:ext>
            </a:extLst>
          </p:cNvPr>
          <p:cNvSpPr/>
          <p:nvPr/>
        </p:nvSpPr>
        <p:spPr>
          <a:xfrm>
            <a:off x="3851143" y="1123547"/>
            <a:ext cx="691021" cy="5069737"/>
          </a:xfrm>
          <a:prstGeom prst="rightBrace">
            <a:avLst>
              <a:gd name="adj1" fmla="val 46002"/>
              <a:gd name="adj2" fmla="val 39516"/>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pic>
        <p:nvPicPr>
          <p:cNvPr id="11" name="Bildobjekt 10" descr="En bild som visar Grafik, design&#10;&#10;Automatiskt genererad beskrivning">
            <a:extLst>
              <a:ext uri="{FF2B5EF4-FFF2-40B4-BE49-F238E27FC236}">
                <a16:creationId xmlns:a16="http://schemas.microsoft.com/office/drawing/2014/main" id="{133544A7-75B1-F87A-6A44-654B502F9725}"/>
              </a:ext>
            </a:extLst>
          </p:cNvPr>
          <p:cNvPicPr>
            <a:picLocks noChangeAspect="1"/>
          </p:cNvPicPr>
          <p:nvPr/>
        </p:nvPicPr>
        <p:blipFill>
          <a:blip r:embed="rId3"/>
          <a:stretch>
            <a:fillRect/>
          </a:stretch>
        </p:blipFill>
        <p:spPr>
          <a:xfrm>
            <a:off x="720860" y="5900078"/>
            <a:ext cx="447145" cy="438930"/>
          </a:xfrm>
          <a:prstGeom prst="rect">
            <a:avLst/>
          </a:prstGeom>
        </p:spPr>
      </p:pic>
      <p:pic>
        <p:nvPicPr>
          <p:cNvPr id="18" name="Bildobjekt 17" descr="En bild som visar Grafik, design&#10;&#10;Automatiskt genererad beskrivning">
            <a:extLst>
              <a:ext uri="{FF2B5EF4-FFF2-40B4-BE49-F238E27FC236}">
                <a16:creationId xmlns:a16="http://schemas.microsoft.com/office/drawing/2014/main" id="{C9ABE9C8-34BC-4DD8-D18F-53B594C460B8}"/>
              </a:ext>
            </a:extLst>
          </p:cNvPr>
          <p:cNvPicPr>
            <a:picLocks noChangeAspect="1"/>
          </p:cNvPicPr>
          <p:nvPr/>
        </p:nvPicPr>
        <p:blipFill>
          <a:blip r:embed="rId3"/>
          <a:stretch>
            <a:fillRect/>
          </a:stretch>
        </p:blipFill>
        <p:spPr>
          <a:xfrm>
            <a:off x="717656" y="2633250"/>
            <a:ext cx="447145" cy="438930"/>
          </a:xfrm>
          <a:prstGeom prst="rect">
            <a:avLst/>
          </a:prstGeom>
        </p:spPr>
      </p:pic>
      <p:pic>
        <p:nvPicPr>
          <p:cNvPr id="19" name="Bildobjekt 18" descr="En bild som visar Grafik, design&#10;&#10;Automatiskt genererad beskrivning">
            <a:extLst>
              <a:ext uri="{FF2B5EF4-FFF2-40B4-BE49-F238E27FC236}">
                <a16:creationId xmlns:a16="http://schemas.microsoft.com/office/drawing/2014/main" id="{F42FC223-AEEE-75B3-3290-A3F2214BD43E}"/>
              </a:ext>
            </a:extLst>
          </p:cNvPr>
          <p:cNvPicPr>
            <a:picLocks noChangeAspect="1"/>
          </p:cNvPicPr>
          <p:nvPr/>
        </p:nvPicPr>
        <p:blipFill>
          <a:blip r:embed="rId3"/>
          <a:stretch>
            <a:fillRect/>
          </a:stretch>
        </p:blipFill>
        <p:spPr>
          <a:xfrm>
            <a:off x="724933" y="3500813"/>
            <a:ext cx="447145" cy="438930"/>
          </a:xfrm>
          <a:prstGeom prst="rect">
            <a:avLst/>
          </a:prstGeom>
        </p:spPr>
      </p:pic>
    </p:spTree>
    <p:extLst>
      <p:ext uri="{BB962C8B-B14F-4D97-AF65-F5344CB8AC3E}">
        <p14:creationId xmlns:p14="http://schemas.microsoft.com/office/powerpoint/2010/main" val="26045669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a:extLst>
              <a:ext uri="{FF2B5EF4-FFF2-40B4-BE49-F238E27FC236}">
                <a16:creationId xmlns:a16="http://schemas.microsoft.com/office/drawing/2014/main" id="{E310DD6E-6F18-5A7D-5D9D-55C0C5F85F2C}"/>
              </a:ext>
            </a:extLst>
          </p:cNvPr>
          <p:cNvSpPr>
            <a:spLocks noGrp="1"/>
          </p:cNvSpPr>
          <p:nvPr>
            <p:ph type="title"/>
          </p:nvPr>
        </p:nvSpPr>
        <p:spPr>
          <a:xfrm>
            <a:off x="838200" y="795403"/>
            <a:ext cx="10515600" cy="895285"/>
          </a:xfrm>
        </p:spPr>
        <p:txBody>
          <a:bodyPr anchor="t">
            <a:normAutofit/>
          </a:bodyPr>
          <a:lstStyle/>
          <a:p>
            <a:r>
              <a:rPr lang="sv-SE" spc="0"/>
              <a:t>RESULTATBILD FRÅN VIOL</a:t>
            </a:r>
          </a:p>
        </p:txBody>
      </p:sp>
      <p:sp>
        <p:nvSpPr>
          <p:cNvPr id="2" name="Platshållare för innehåll 1">
            <a:extLst>
              <a:ext uri="{FF2B5EF4-FFF2-40B4-BE49-F238E27FC236}">
                <a16:creationId xmlns:a16="http://schemas.microsoft.com/office/drawing/2014/main" id="{3B28A57A-9417-DE07-B7DD-1F5891254E3C}"/>
              </a:ext>
            </a:extLst>
          </p:cNvPr>
          <p:cNvSpPr>
            <a:spLocks/>
          </p:cNvSpPr>
          <p:nvPr/>
        </p:nvSpPr>
        <p:spPr>
          <a:xfrm>
            <a:off x="6751070" y="1833009"/>
            <a:ext cx="4602730" cy="1219275"/>
          </a:xfrm>
          <a:prstGeom prst="rect">
            <a:avLst/>
          </a:prstGeom>
        </p:spPr>
        <p:txBody>
          <a:bodyPr vert="horz" lIns="91440" tIns="45720" rIns="91440" bIns="45720" rtlCol="0" anchor="t">
            <a:noAutofit/>
          </a:bodyPr>
          <a:lstStyle/>
          <a:p>
            <a:pPr indent="-170618" defTabSz="886968">
              <a:spcAft>
                <a:spcPts val="600"/>
              </a:spcAft>
            </a:pPr>
            <a:r>
              <a:rPr lang="sv-SE" sz="1746" kern="1200">
                <a:solidFill>
                  <a:schemeClr val="tx1"/>
                </a:solidFill>
                <a:latin typeface="Noto Serif"/>
                <a:ea typeface="Noto Serif"/>
                <a:cs typeface="Noto Serif"/>
              </a:rPr>
              <a:t>Resultatet kan exporteras till Excel samt </a:t>
            </a:r>
            <a:r>
              <a:rPr lang="sv-SE" sz="1800" kern="1200">
                <a:solidFill>
                  <a:schemeClr val="tx1"/>
                </a:solidFill>
                <a:latin typeface="Noto Serif"/>
                <a:ea typeface="Noto Serif"/>
                <a:cs typeface="Noto Serif"/>
              </a:rPr>
              <a:t>integreras ut och möjliggör sökning i eget v</a:t>
            </a:r>
            <a:r>
              <a:rPr lang="sv-SE">
                <a:latin typeface="Noto Serif"/>
                <a:ea typeface="Noto Serif"/>
                <a:cs typeface="Noto Serif"/>
              </a:rPr>
              <a:t>e</a:t>
            </a:r>
            <a:r>
              <a:rPr lang="sv-SE" sz="2000" kern="1200">
                <a:solidFill>
                  <a:schemeClr val="tx1"/>
                </a:solidFill>
                <a:latin typeface="Noto Serif"/>
                <a:ea typeface="Noto Serif"/>
                <a:cs typeface="Noto Serif"/>
              </a:rPr>
              <a:t>rksamhetssystem</a:t>
            </a:r>
          </a:p>
          <a:p>
            <a:pPr indent="-170618" defTabSz="886968">
              <a:spcAft>
                <a:spcPts val="600"/>
              </a:spcAft>
            </a:pPr>
            <a:r>
              <a:rPr lang="sv-SE" sz="2000">
                <a:latin typeface="Noto Serif"/>
                <a:ea typeface="Noto Serif"/>
                <a:cs typeface="Noto Serif"/>
              </a:rPr>
              <a:t>(</a:t>
            </a:r>
            <a:r>
              <a:rPr lang="sv-SE" b="1">
                <a:latin typeface="Noto Serif"/>
                <a:ea typeface="Noto Serif"/>
                <a:cs typeface="Noto Serif"/>
              </a:rPr>
              <a:t>Kontakta din IT-leverantör </a:t>
            </a:r>
            <a:r>
              <a:rPr lang="sv-SE">
                <a:latin typeface="Noto Serif"/>
                <a:ea typeface="Noto Serif"/>
                <a:cs typeface="Noto Serif"/>
              </a:rPr>
              <a:t>eller din IT-avdelning)</a:t>
            </a:r>
          </a:p>
        </p:txBody>
      </p:sp>
      <p:pic>
        <p:nvPicPr>
          <p:cNvPr id="5" name="Bildobjekt 4" descr="En bild som visar text, elektronik, skärmbild, nummer&#10;&#10;Automatiskt genererad beskrivning">
            <a:extLst>
              <a:ext uri="{FF2B5EF4-FFF2-40B4-BE49-F238E27FC236}">
                <a16:creationId xmlns:a16="http://schemas.microsoft.com/office/drawing/2014/main" id="{7A76B8D0-A791-CB90-DBDE-EAE6899314CE}"/>
              </a:ext>
            </a:extLst>
          </p:cNvPr>
          <p:cNvPicPr>
            <a:picLocks noChangeAspect="1"/>
          </p:cNvPicPr>
          <p:nvPr/>
        </p:nvPicPr>
        <p:blipFill>
          <a:blip r:embed="rId2"/>
          <a:stretch>
            <a:fillRect/>
          </a:stretch>
        </p:blipFill>
        <p:spPr>
          <a:xfrm>
            <a:off x="970098" y="1921388"/>
            <a:ext cx="5333425" cy="3883678"/>
          </a:xfrm>
          <a:prstGeom prst="rect">
            <a:avLst/>
          </a:prstGeom>
        </p:spPr>
      </p:pic>
      <p:pic>
        <p:nvPicPr>
          <p:cNvPr id="6" name="Bildobjekt 5" descr="En bild som visar text, skärmbild, nummer, Teckensnitt&#10;&#10;Automatiskt genererad beskrivning">
            <a:extLst>
              <a:ext uri="{FF2B5EF4-FFF2-40B4-BE49-F238E27FC236}">
                <a16:creationId xmlns:a16="http://schemas.microsoft.com/office/drawing/2014/main" id="{CFC1F652-3EC6-0554-9456-BC6AF1D72764}"/>
              </a:ext>
            </a:extLst>
          </p:cNvPr>
          <p:cNvPicPr>
            <a:picLocks noChangeAspect="1"/>
          </p:cNvPicPr>
          <p:nvPr/>
        </p:nvPicPr>
        <p:blipFill>
          <a:blip r:embed="rId3"/>
          <a:stretch>
            <a:fillRect/>
          </a:stretch>
        </p:blipFill>
        <p:spPr>
          <a:xfrm>
            <a:off x="6965001" y="3660804"/>
            <a:ext cx="3865565" cy="2433880"/>
          </a:xfrm>
          <a:prstGeom prst="rect">
            <a:avLst/>
          </a:prstGeom>
        </p:spPr>
      </p:pic>
      <p:sp>
        <p:nvSpPr>
          <p:cNvPr id="7" name="textruta 6">
            <a:extLst>
              <a:ext uri="{FF2B5EF4-FFF2-40B4-BE49-F238E27FC236}">
                <a16:creationId xmlns:a16="http://schemas.microsoft.com/office/drawing/2014/main" id="{6DDB62A6-FA76-468E-1353-C81984899F73}"/>
              </a:ext>
            </a:extLst>
          </p:cNvPr>
          <p:cNvSpPr txBox="1"/>
          <p:nvPr/>
        </p:nvSpPr>
        <p:spPr>
          <a:xfrm>
            <a:off x="972763" y="5943596"/>
            <a:ext cx="5466945" cy="646331"/>
          </a:xfrm>
          <a:prstGeom prst="rect">
            <a:avLst/>
          </a:prstGeom>
          <a:noFill/>
        </p:spPr>
        <p:txBody>
          <a:bodyPr wrap="square" rtlCol="0">
            <a:spAutoFit/>
          </a:bodyPr>
          <a:lstStyle/>
          <a:p>
            <a:pPr indent="-170618" defTabSz="886968">
              <a:spcAft>
                <a:spcPts val="600"/>
              </a:spcAft>
            </a:pPr>
            <a:r>
              <a:rPr lang="sv-SE" sz="1800" kern="1200">
                <a:solidFill>
                  <a:schemeClr val="tx1"/>
                </a:solidFill>
                <a:latin typeface="Noto Serif"/>
                <a:ea typeface="Noto Serif"/>
                <a:cs typeface="Noto Serif"/>
              </a:rPr>
              <a:t>Resultatet här presenteras med medgivande från mottagaren SCA</a:t>
            </a:r>
          </a:p>
        </p:txBody>
      </p:sp>
    </p:spTree>
    <p:extLst>
      <p:ext uri="{BB962C8B-B14F-4D97-AF65-F5344CB8AC3E}">
        <p14:creationId xmlns:p14="http://schemas.microsoft.com/office/powerpoint/2010/main" val="2130798597"/>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BA349ABD-36EE-ABF4-25D0-1BCF00F11178}"/>
              </a:ext>
            </a:extLst>
          </p:cNvPr>
          <p:cNvSpPr>
            <a:spLocks noGrp="1"/>
          </p:cNvSpPr>
          <p:nvPr>
            <p:ph idx="1"/>
          </p:nvPr>
        </p:nvSpPr>
        <p:spPr>
          <a:xfrm>
            <a:off x="838200" y="1523785"/>
            <a:ext cx="6516329" cy="4538812"/>
          </a:xfrm>
        </p:spPr>
        <p:txBody>
          <a:bodyPr vert="horz" lIns="91440" tIns="45720" rIns="91440" bIns="45720" rtlCol="0" anchor="t">
            <a:noAutofit/>
          </a:bodyPr>
          <a:lstStyle/>
          <a:p>
            <a:pPr indent="-175895"/>
            <a:r>
              <a:rPr lang="sv-SE"/>
              <a:t>Väljer ni att göra anmälningar till EU manuellt så måste ni skaffa en användare till EUs system </a:t>
            </a:r>
            <a:r>
              <a:rPr lang="sv-SE" err="1"/>
              <a:t>Traces</a:t>
            </a:r>
            <a:r>
              <a:rPr lang="sv-SE"/>
              <a:t> och förbereda er genom att t.ex. gå en utbildning som Skogsstyrelsen ska ordna på senhösten i år. </a:t>
            </a:r>
            <a:br>
              <a:rPr lang="sv-SE"/>
            </a:br>
            <a:r>
              <a:rPr lang="sv-SE"/>
              <a:t>En användarhandledning ska finnas från september och registrering av användare i EU-systemet ska kunna ske från mitten av november. Du hittar </a:t>
            </a:r>
            <a:r>
              <a:rPr lang="sv-SE" err="1"/>
              <a:t>Traces</a:t>
            </a:r>
            <a:r>
              <a:rPr lang="sv-SE"/>
              <a:t> här: </a:t>
            </a:r>
            <a:r>
              <a:rPr lang="sv-SE">
                <a:hlinkClick r:id="rId3"/>
              </a:rPr>
              <a:t>https://webgate.ec.europa.eu/tracesnt/login</a:t>
            </a:r>
            <a:endParaRPr lang="sv-SE"/>
          </a:p>
          <a:p>
            <a:pPr indent="-175895"/>
            <a:r>
              <a:rPr lang="sv-SE"/>
              <a:t>Om ni väljer att prioritera utveckling av en egen lösning som kan jobba mot EUs API så finns tekniska specifikationer publicerade sedan i juni och en testmiljö är också tillgänglig nu.  </a:t>
            </a:r>
            <a:r>
              <a:rPr lang="sv-SE" b="1"/>
              <a:t>Kontakta din IT-leverantör </a:t>
            </a:r>
            <a:r>
              <a:rPr lang="sv-SE"/>
              <a:t>eller din IT-avdelning och diskutera vilka möjligheter som finns.</a:t>
            </a:r>
          </a:p>
        </p:txBody>
      </p:sp>
      <p:sp>
        <p:nvSpPr>
          <p:cNvPr id="4" name="Rubrik 3">
            <a:extLst>
              <a:ext uri="{FF2B5EF4-FFF2-40B4-BE49-F238E27FC236}">
                <a16:creationId xmlns:a16="http://schemas.microsoft.com/office/drawing/2014/main" id="{8166AFFF-6DDB-9411-490C-5F2327B09045}"/>
              </a:ext>
            </a:extLst>
          </p:cNvPr>
          <p:cNvSpPr>
            <a:spLocks noGrp="1"/>
          </p:cNvSpPr>
          <p:nvPr>
            <p:ph type="title"/>
          </p:nvPr>
        </p:nvSpPr>
        <p:spPr>
          <a:xfrm>
            <a:off x="838200" y="413817"/>
            <a:ext cx="10515600" cy="1276872"/>
          </a:xfrm>
        </p:spPr>
        <p:txBody>
          <a:bodyPr/>
          <a:lstStyle/>
          <a:p>
            <a:r>
              <a:rPr lang="sv-SE" spc="0"/>
              <a:t>NI SOM FÖRETAG MÅSTE GÖRA ETT VAL ATT JOBBA MANUELLT </a:t>
            </a:r>
            <a:br>
              <a:rPr lang="sv-SE" spc="0"/>
            </a:br>
            <a:r>
              <a:rPr lang="sv-SE" spc="0"/>
              <a:t>ELLER AUTOMATISERAT VID ANMÄLNING TILL EU</a:t>
            </a:r>
          </a:p>
        </p:txBody>
      </p:sp>
      <p:pic>
        <p:nvPicPr>
          <p:cNvPr id="1026" name="Picture 3">
            <a:extLst>
              <a:ext uri="{FF2B5EF4-FFF2-40B4-BE49-F238E27FC236}">
                <a16:creationId xmlns:a16="http://schemas.microsoft.com/office/drawing/2014/main" id="{BE7FF3E0-E043-E942-A98E-67696DC964EA}"/>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482720" y="4538806"/>
            <a:ext cx="4709280" cy="23191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ruta 1">
            <a:extLst>
              <a:ext uri="{FF2B5EF4-FFF2-40B4-BE49-F238E27FC236}">
                <a16:creationId xmlns:a16="http://schemas.microsoft.com/office/drawing/2014/main" id="{1F17983F-02AB-3607-BE85-249CEC58967C}"/>
              </a:ext>
            </a:extLst>
          </p:cNvPr>
          <p:cNvSpPr txBox="1"/>
          <p:nvPr/>
        </p:nvSpPr>
        <p:spPr>
          <a:xfrm>
            <a:off x="7482720" y="4231029"/>
            <a:ext cx="5063613"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Denna tidslinje för införandet har EU publicerat i maj</a:t>
            </a:r>
          </a:p>
        </p:txBody>
      </p:sp>
    </p:spTree>
    <p:extLst>
      <p:ext uri="{BB962C8B-B14F-4D97-AF65-F5344CB8AC3E}">
        <p14:creationId xmlns:p14="http://schemas.microsoft.com/office/powerpoint/2010/main" val="18714227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4F559F-0E81-546C-3434-AF885B8D761A}"/>
              </a:ext>
            </a:extLst>
          </p:cNvPr>
          <p:cNvSpPr>
            <a:spLocks noGrp="1"/>
          </p:cNvSpPr>
          <p:nvPr>
            <p:ph type="title"/>
          </p:nvPr>
        </p:nvSpPr>
        <p:spPr/>
        <p:txBody>
          <a:bodyPr/>
          <a:lstStyle/>
          <a:p>
            <a:r>
              <a:rPr lang="sv-SE" spc="0"/>
              <a:t>KRAV PÅ LAGRING AV INFORMATION</a:t>
            </a:r>
          </a:p>
        </p:txBody>
      </p:sp>
      <p:sp>
        <p:nvSpPr>
          <p:cNvPr id="3" name="textruta 2">
            <a:extLst>
              <a:ext uri="{FF2B5EF4-FFF2-40B4-BE49-F238E27FC236}">
                <a16:creationId xmlns:a16="http://schemas.microsoft.com/office/drawing/2014/main" id="{4396DB4C-FFE8-31F2-37D9-9C37F347D8C0}"/>
              </a:ext>
            </a:extLst>
          </p:cNvPr>
          <p:cNvSpPr txBox="1"/>
          <p:nvPr/>
        </p:nvSpPr>
        <p:spPr>
          <a:xfrm>
            <a:off x="838200" y="1690688"/>
            <a:ext cx="8234779" cy="3108543"/>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EU ställer krav på att verksamhetsutövaren </a:t>
            </a:r>
            <a:r>
              <a:rPr kumimoji="0" lang="sv-SE" sz="1400" b="1" i="0" u="none" strike="noStrike" kern="1200" cap="none" spc="0" normalizeH="0" baseline="0" noProof="0">
                <a:ln>
                  <a:noFill/>
                </a:ln>
                <a:solidFill>
                  <a:srgbClr val="000000"/>
                </a:solidFill>
                <a:effectLst/>
                <a:uLnTx/>
                <a:uFillTx/>
                <a:latin typeface="Noto Serif"/>
                <a:ea typeface="+mn-ea"/>
                <a:cs typeface="+mn-cs"/>
              </a:rPr>
              <a:t>sparar viss information relaterad till förklaringen om tillbörlig aktsamhet under 5 år</a:t>
            </a:r>
            <a:r>
              <a:rPr kumimoji="0" lang="sv-SE" sz="1400" b="0" i="0" u="none" strike="noStrike" kern="1200" cap="none" spc="0" normalizeH="0" baseline="0" noProof="0">
                <a:ln>
                  <a:noFill/>
                </a:ln>
                <a:solidFill>
                  <a:srgbClr val="000000"/>
                </a:solidFill>
                <a:effectLst/>
                <a:uLnTx/>
                <a:uFillTx/>
                <a:latin typeface="Noto Serif"/>
                <a:ea typeface="+mn-ea"/>
                <a:cs typeface="+mn-cs"/>
              </a:rPr>
              <a:t> från dagen då produkten sattes på marknaden (importerades, exporterades eller producerades).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Noto Serif"/>
              <a:ea typeface="+mn-ea"/>
              <a:cs typeface="+mn-cs"/>
            </a:endParaRPr>
          </a:p>
          <a:p>
            <a:r>
              <a:rPr kumimoji="0" lang="sv-SE" sz="1400" b="0" i="0" u="none" strike="noStrike" kern="1200" cap="none" spc="0" normalizeH="0" baseline="0" noProof="0">
                <a:ln>
                  <a:noFill/>
                </a:ln>
                <a:solidFill>
                  <a:srgbClr val="000000"/>
                </a:solidFill>
                <a:effectLst/>
                <a:uLnTx/>
                <a:uFillTx/>
                <a:latin typeface="Noto Serif"/>
                <a:ea typeface="+mn-ea"/>
                <a:cs typeface="+mn-cs"/>
              </a:rPr>
              <a:t>Det finns inget sammanhållet objekt i VIOL som håller den informationen.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sng" strike="noStrike" kern="1200" cap="none" spc="0" normalizeH="0" baseline="0" noProof="0">
              <a:ln>
                <a:noFill/>
              </a:ln>
              <a:solidFill>
                <a:srgbClr val="000000"/>
              </a:solidFill>
              <a:effectLst/>
              <a:uLnTx/>
              <a:uFillTx/>
              <a:latin typeface="Noto Serif"/>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i="0" u="none" strike="noStrike" kern="1200" cap="none" spc="0" normalizeH="0" baseline="0" noProof="0">
                <a:ln>
                  <a:noFill/>
                </a:ln>
                <a:solidFill>
                  <a:srgbClr val="000000"/>
                </a:solidFill>
                <a:effectLst/>
                <a:uLnTx/>
                <a:uFillTx/>
                <a:latin typeface="Noto Serif"/>
                <a:ea typeface="+mn-ea"/>
                <a:cs typeface="+mn-cs"/>
              </a:rPr>
              <a:t>Detta innebär att ni i eget system bör hålla en sammanhållen information om avverkningstrakten med såväl </a:t>
            </a:r>
            <a:r>
              <a:rPr kumimoji="0" lang="sv-SE" sz="1400" b="1" i="0" u="none" strike="noStrike" kern="1200" cap="none" spc="0" normalizeH="0" baseline="0" noProof="0">
                <a:ln>
                  <a:noFill/>
                </a:ln>
                <a:solidFill>
                  <a:srgbClr val="000000"/>
                </a:solidFill>
                <a:effectLst/>
                <a:uLnTx/>
                <a:uFillTx/>
                <a:latin typeface="Noto Serif"/>
                <a:ea typeface="+mn-ea"/>
                <a:cs typeface="+mn-cs"/>
              </a:rPr>
              <a:t>referensnummer, geografisk information </a:t>
            </a:r>
            <a:r>
              <a:rPr kumimoji="0" lang="sv-SE" sz="1400" i="0" u="none" strike="noStrike" kern="1200" cap="none" spc="0" normalizeH="0" baseline="0" noProof="0">
                <a:ln>
                  <a:noFill/>
                </a:ln>
                <a:solidFill>
                  <a:srgbClr val="000000"/>
                </a:solidFill>
                <a:effectLst/>
                <a:uLnTx/>
                <a:uFillTx/>
                <a:latin typeface="Noto Serif"/>
                <a:ea typeface="+mn-ea"/>
                <a:cs typeface="+mn-cs"/>
              </a:rPr>
              <a:t>och avverkningstidpunkt mm under 5 år från det datum anmälan gjorde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1" i="0" u="none" strike="noStrike" kern="1200" cap="none" spc="0" normalizeH="0" baseline="0" noProof="0">
              <a:ln>
                <a:noFill/>
              </a:ln>
              <a:solidFill>
                <a:srgbClr val="000000"/>
              </a:solidFill>
              <a:effectLst/>
              <a:uLnTx/>
              <a:uFillTx/>
              <a:latin typeface="Noto Serif"/>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400" b="0" i="0" u="none" strike="noStrike" kern="1200" cap="none" spc="0" normalizeH="0" baseline="0" noProof="0">
                <a:ln>
                  <a:noFill/>
                </a:ln>
                <a:solidFill>
                  <a:srgbClr val="000000"/>
                </a:solidFill>
                <a:effectLst/>
                <a:uLnTx/>
                <a:uFillTx/>
                <a:latin typeface="Noto Serif"/>
                <a:ea typeface="+mn-ea"/>
                <a:cs typeface="+mn-cs"/>
              </a:rPr>
              <a:t>Observera att det inte finns något särskilt krav på teknik eller format. Detta är upp till varje företag att själv besluta om</a:t>
            </a:r>
            <a:r>
              <a:rPr kumimoji="0" lang="sv-SE" sz="1400" b="0" i="0" u="sng" strike="noStrike" kern="1200" cap="none" spc="0" normalizeH="0" baseline="0" noProof="0">
                <a:ln>
                  <a:noFill/>
                </a:ln>
                <a:solidFill>
                  <a:srgbClr val="000000"/>
                </a:solidFill>
                <a:effectLst/>
                <a:uLnTx/>
                <a:uFillTx/>
                <a:latin typeface="Noto Serif"/>
                <a:ea typeface="+mn-ea"/>
                <a:cs typeface="+mn-cs"/>
              </a:rPr>
              <a:t>.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sng" strike="noStrike" kern="1200" cap="none" spc="0" normalizeH="0" baseline="0" noProof="0">
              <a:ln>
                <a:noFill/>
              </a:ln>
              <a:solidFill>
                <a:srgbClr val="000000"/>
              </a:solidFill>
              <a:effectLst/>
              <a:uLnTx/>
              <a:uFillTx/>
              <a:latin typeface="Noto Serif"/>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400" b="0" i="0" u="none" strike="noStrike" kern="1200" cap="none" spc="0" normalizeH="0" baseline="0" noProof="0">
              <a:ln>
                <a:noFill/>
              </a:ln>
              <a:solidFill>
                <a:srgbClr val="000000"/>
              </a:solidFill>
              <a:effectLst/>
              <a:uLnTx/>
              <a:uFillTx/>
              <a:latin typeface="Noto Serif"/>
              <a:ea typeface="+mn-ea"/>
              <a:cs typeface="+mn-cs"/>
            </a:endParaRPr>
          </a:p>
        </p:txBody>
      </p:sp>
    </p:spTree>
    <p:extLst>
      <p:ext uri="{BB962C8B-B14F-4D97-AF65-F5344CB8AC3E}">
        <p14:creationId xmlns:p14="http://schemas.microsoft.com/office/powerpoint/2010/main" val="131768828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Platshållare för innehåll 4">
            <a:extLst>
              <a:ext uri="{FF2B5EF4-FFF2-40B4-BE49-F238E27FC236}">
                <a16:creationId xmlns:a16="http://schemas.microsoft.com/office/drawing/2014/main" id="{65DEE672-6C3E-E84F-DEF8-79C297345FC3}"/>
              </a:ext>
            </a:extLst>
          </p:cNvPr>
          <p:cNvSpPr>
            <a:spLocks noGrp="1"/>
          </p:cNvSpPr>
          <p:nvPr>
            <p:ph idx="1"/>
          </p:nvPr>
        </p:nvSpPr>
        <p:spPr/>
        <p:txBody>
          <a:bodyPr vert="horz" lIns="91440" tIns="45720" rIns="91440" bIns="45720" rtlCol="0" anchor="t">
            <a:noAutofit/>
          </a:bodyPr>
          <a:lstStyle/>
          <a:p>
            <a:pPr indent="-175895">
              <a:lnSpc>
                <a:spcPct val="107000"/>
              </a:lnSpc>
              <a:spcAft>
                <a:spcPts val="800"/>
              </a:spcAft>
            </a:pPr>
            <a:endParaRPr lang="sv-SE" sz="1400" kern="100">
              <a:latin typeface="+mn-lt"/>
              <a:ea typeface="Aptos" panose="020B0004020202020204" pitchFamily="34" charset="0"/>
              <a:cs typeface="Times New Roman" panose="02020603050405020304" pitchFamily="18" charset="0"/>
            </a:endParaRPr>
          </a:p>
          <a:p>
            <a:pPr indent="-175895">
              <a:lnSpc>
                <a:spcPct val="107000"/>
              </a:lnSpc>
              <a:spcAft>
                <a:spcPts val="800"/>
              </a:spcAft>
            </a:pPr>
            <a:endParaRPr lang="sv-SE" sz="1400" kern="100">
              <a:latin typeface="+mn-lt"/>
              <a:ea typeface="Aptos" panose="020B0004020202020204" pitchFamily="34" charset="0"/>
              <a:cs typeface="Times New Roman" panose="02020603050405020304" pitchFamily="18" charset="0"/>
            </a:endParaRPr>
          </a:p>
          <a:p>
            <a:pPr indent="-175895">
              <a:lnSpc>
                <a:spcPct val="107000"/>
              </a:lnSpc>
              <a:spcAft>
                <a:spcPts val="800"/>
              </a:spcAft>
            </a:pPr>
            <a:endParaRPr lang="sv-SE" sz="1400" kern="100">
              <a:latin typeface="+mn-lt"/>
              <a:ea typeface="Aptos" panose="020B0004020202020204" pitchFamily="34" charset="0"/>
              <a:cs typeface="Times New Roman" panose="02020603050405020304" pitchFamily="18" charset="0"/>
            </a:endParaRPr>
          </a:p>
          <a:p>
            <a:pPr indent="-175895">
              <a:lnSpc>
                <a:spcPct val="107000"/>
              </a:lnSpc>
              <a:spcAft>
                <a:spcPts val="800"/>
              </a:spcAft>
            </a:pPr>
            <a:r>
              <a:rPr lang="sv-SE" sz="1400" kern="100">
                <a:latin typeface="+mn-lt"/>
                <a:ea typeface="Aptos" panose="020B0004020202020204" pitchFamily="34" charset="0"/>
                <a:cs typeface="Times New Roman" panose="02020603050405020304" pitchFamily="18" charset="0"/>
              </a:rPr>
              <a:t>Specifikationerna hittar du här: </a:t>
            </a:r>
            <a:r>
              <a:rPr lang="sv-SE" sz="1400" kern="100">
                <a:latin typeface="+mn-lt"/>
                <a:ea typeface="Aptos" panose="020B0004020202020204" pitchFamily="34" charset="0"/>
                <a:cs typeface="Times New Roman" panose="02020603050405020304" pitchFamily="18" charset="0"/>
                <a:hlinkClick r:id="rId2"/>
              </a:rPr>
              <a:t>https://www.biometria.se/mina-sidor/integrationsspecifikationer/integrationsspecifikationer-viol-2/</a:t>
            </a:r>
            <a:endParaRPr lang="sv-SE" sz="1400" kern="100">
              <a:latin typeface="+mn-lt"/>
              <a:ea typeface="Aptos" panose="020B0004020202020204" pitchFamily="34" charset="0"/>
              <a:cs typeface="Times New Roman" panose="02020603050405020304" pitchFamily="18" charset="0"/>
            </a:endParaRPr>
          </a:p>
          <a:p>
            <a:pPr marL="4445" indent="0">
              <a:lnSpc>
                <a:spcPct val="107000"/>
              </a:lnSpc>
              <a:spcAft>
                <a:spcPts val="800"/>
              </a:spcAft>
              <a:buNone/>
            </a:pPr>
            <a:endParaRPr lang="sv-SE" sz="1400" kern="100">
              <a:effectLst/>
              <a:latin typeface="+mn-lt"/>
              <a:ea typeface="Aptos" panose="020B0004020202020204" pitchFamily="34" charset="0"/>
              <a:cs typeface="Times New Roman" panose="02020603050405020304" pitchFamily="18" charset="0"/>
            </a:endParaRPr>
          </a:p>
          <a:p>
            <a:pPr marL="4445" indent="0">
              <a:buNone/>
            </a:pPr>
            <a:endParaRPr lang="sv-SE" sz="1400">
              <a:latin typeface="+mn-lt"/>
            </a:endParaRPr>
          </a:p>
        </p:txBody>
      </p:sp>
      <p:sp>
        <p:nvSpPr>
          <p:cNvPr id="4" name="Rubrik 3">
            <a:extLst>
              <a:ext uri="{FF2B5EF4-FFF2-40B4-BE49-F238E27FC236}">
                <a16:creationId xmlns:a16="http://schemas.microsoft.com/office/drawing/2014/main" id="{1B49A37A-E8E8-849F-EDDE-5616F8C973FB}"/>
              </a:ext>
            </a:extLst>
          </p:cNvPr>
          <p:cNvSpPr>
            <a:spLocks noGrp="1"/>
          </p:cNvSpPr>
          <p:nvPr>
            <p:ph type="title"/>
          </p:nvPr>
        </p:nvSpPr>
        <p:spPr/>
        <p:txBody>
          <a:bodyPr/>
          <a:lstStyle/>
          <a:p>
            <a:r>
              <a:rPr lang="sv-SE" spc="0"/>
              <a:t>FÖRÄNDRING AV BIOMETRIAS INTEGRATIONER</a:t>
            </a:r>
          </a:p>
        </p:txBody>
      </p:sp>
      <p:sp>
        <p:nvSpPr>
          <p:cNvPr id="2" name="textruta 1">
            <a:extLst>
              <a:ext uri="{FF2B5EF4-FFF2-40B4-BE49-F238E27FC236}">
                <a16:creationId xmlns:a16="http://schemas.microsoft.com/office/drawing/2014/main" id="{3F1E5667-8C19-70DB-C706-A359BFBBD979}"/>
              </a:ext>
            </a:extLst>
          </p:cNvPr>
          <p:cNvSpPr txBox="1"/>
          <p:nvPr/>
        </p:nvSpPr>
        <p:spPr>
          <a:xfrm>
            <a:off x="1032095" y="1898142"/>
            <a:ext cx="8039477" cy="923330"/>
          </a:xfrm>
          <a:prstGeom prst="rect">
            <a:avLst/>
          </a:prstGeom>
          <a:noFill/>
          <a:ln w="38100">
            <a:solidFill>
              <a:srgbClr val="FF0000"/>
            </a:solidFill>
          </a:ln>
        </p:spPr>
        <p:txBody>
          <a:bodyPr wrap="square" rtlCol="0">
            <a:spAutoFit/>
          </a:bodyPr>
          <a:lstStyle/>
          <a:p>
            <a:r>
              <a:rPr lang="sv-SE"/>
              <a:t>I juli beslutade styrelsen att uppgifterna för EUDR blir obligatoriska från 2024-12-30. Specifikationerna uppdateras inom kort – kommer 2024-08-26</a:t>
            </a:r>
          </a:p>
        </p:txBody>
      </p:sp>
    </p:spTree>
    <p:extLst>
      <p:ext uri="{BB962C8B-B14F-4D97-AF65-F5344CB8AC3E}">
        <p14:creationId xmlns:p14="http://schemas.microsoft.com/office/powerpoint/2010/main" val="165041911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4D22915F-2708-08F7-23F0-9779168270B2}"/>
              </a:ext>
            </a:extLst>
          </p:cNvPr>
          <p:cNvSpPr>
            <a:spLocks noGrp="1"/>
          </p:cNvSpPr>
          <p:nvPr>
            <p:ph idx="1"/>
          </p:nvPr>
        </p:nvSpPr>
        <p:spPr/>
        <p:txBody>
          <a:bodyPr>
            <a:noAutofit/>
          </a:bodyPr>
          <a:lstStyle/>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Mötet spelas in!</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Mikrofon och kamera avstängda för alla utom organisatörerna </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Skriv dina frågor i chatten löpande </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Presentation av oss som håller </a:t>
            </a:r>
            <a:r>
              <a:rPr lang="sv-SE" sz="2000" err="1">
                <a:latin typeface="Open Sans" panose="020B0606030504020204" pitchFamily="34" charset="0"/>
                <a:ea typeface="Open Sans" panose="020B0606030504020204" pitchFamily="34" charset="0"/>
                <a:cs typeface="Open Sans" panose="020B0606030504020204" pitchFamily="34" charset="0"/>
              </a:rPr>
              <a:t>webbinariet</a:t>
            </a:r>
            <a:r>
              <a:rPr lang="sv-SE" sz="2000">
                <a:latin typeface="Open Sans" panose="020B0606030504020204" pitchFamily="34" charset="0"/>
                <a:ea typeface="Open Sans" panose="020B0606030504020204" pitchFamily="34" charset="0"/>
                <a:cs typeface="Open Sans" panose="020B0606030504020204" pitchFamily="34" charset="0"/>
              </a:rPr>
              <a:t> – 5 min</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Genomgång av presentationen – ca 1 h</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Paus 15 min</a:t>
            </a:r>
          </a:p>
          <a:p>
            <a:pPr>
              <a:buBlip>
                <a:blip r:embed="rId3"/>
              </a:buBlip>
            </a:pPr>
            <a:r>
              <a:rPr lang="sv-SE" sz="2000">
                <a:latin typeface="Open Sans" panose="020B0606030504020204" pitchFamily="34" charset="0"/>
                <a:ea typeface="Open Sans" panose="020B0606030504020204" pitchFamily="34" charset="0"/>
                <a:cs typeface="Open Sans" panose="020B0606030504020204" pitchFamily="34" charset="0"/>
              </a:rPr>
              <a:t>Vi svarar på ett urval av frågor som ställts i chatten och samlar upp sådant som vi eventuellt inte kan svara på ännu.</a:t>
            </a:r>
          </a:p>
          <a:p>
            <a:pPr marL="0" indent="0">
              <a:buNone/>
            </a:pPr>
            <a:endParaRPr lang="sv-SE" sz="2000">
              <a:latin typeface="Open Sans" panose="020B0606030504020204" pitchFamily="34" charset="0"/>
              <a:ea typeface="Open Sans" panose="020B0606030504020204" pitchFamily="34" charset="0"/>
              <a:cs typeface="Open Sans" panose="020B0606030504020204" pitchFamily="34" charset="0"/>
            </a:endParaRPr>
          </a:p>
        </p:txBody>
      </p:sp>
      <p:sp>
        <p:nvSpPr>
          <p:cNvPr id="2" name="Rubrik 1">
            <a:extLst>
              <a:ext uri="{FF2B5EF4-FFF2-40B4-BE49-F238E27FC236}">
                <a16:creationId xmlns:a16="http://schemas.microsoft.com/office/drawing/2014/main" id="{0DF6C76E-AC05-C796-091A-6A7A8C17B801}"/>
              </a:ext>
            </a:extLst>
          </p:cNvPr>
          <p:cNvSpPr>
            <a:spLocks noGrp="1"/>
          </p:cNvSpPr>
          <p:nvPr>
            <p:ph type="title"/>
          </p:nvPr>
        </p:nvSpPr>
        <p:spPr>
          <a:xfrm>
            <a:off x="838200" y="600701"/>
            <a:ext cx="10515600" cy="1089987"/>
          </a:xfrm>
        </p:spPr>
        <p:txBody>
          <a:bodyPr>
            <a:normAutofit/>
          </a:bodyPr>
          <a:lstStyle/>
          <a:p>
            <a:r>
              <a:rPr lang="sv-SE" sz="2800">
                <a:latin typeface="Open Sans" panose="020B0606030504020204" pitchFamily="34" charset="0"/>
                <a:ea typeface="Open Sans" panose="020B0606030504020204" pitchFamily="34" charset="0"/>
                <a:cs typeface="Open Sans" panose="020B0606030504020204" pitchFamily="34" charset="0"/>
              </a:rPr>
              <a:t>AGENDA OCH VAD SOM GÄLLER</a:t>
            </a:r>
          </a:p>
        </p:txBody>
      </p:sp>
    </p:spTree>
    <p:extLst>
      <p:ext uri="{BB962C8B-B14F-4D97-AF65-F5344CB8AC3E}">
        <p14:creationId xmlns:p14="http://schemas.microsoft.com/office/powerpoint/2010/main" val="146230015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6F4AA04-CE07-5D84-4D48-32A9623E2844}"/>
            </a:ext>
          </a:extLst>
        </p:cNvPr>
        <p:cNvGrpSpPr/>
        <p:nvPr/>
      </p:nvGrpSpPr>
      <p:grpSpPr>
        <a:xfrm>
          <a:off x="0" y="0"/>
          <a:ext cx="0" cy="0"/>
          <a:chOff x="0" y="0"/>
          <a:chExt cx="0" cy="0"/>
        </a:xfrm>
      </p:grpSpPr>
      <p:sp>
        <p:nvSpPr>
          <p:cNvPr id="4" name="Rubrik 3">
            <a:extLst>
              <a:ext uri="{FF2B5EF4-FFF2-40B4-BE49-F238E27FC236}">
                <a16:creationId xmlns:a16="http://schemas.microsoft.com/office/drawing/2014/main" id="{E1A3F83D-7D11-3BB6-5138-3A0A000442F1}"/>
              </a:ext>
            </a:extLst>
          </p:cNvPr>
          <p:cNvSpPr>
            <a:spLocks noGrp="1"/>
          </p:cNvSpPr>
          <p:nvPr>
            <p:ph type="title"/>
          </p:nvPr>
        </p:nvSpPr>
        <p:spPr>
          <a:xfrm>
            <a:off x="577649" y="206005"/>
            <a:ext cx="9828914" cy="895285"/>
          </a:xfrm>
        </p:spPr>
        <p:txBody>
          <a:bodyPr>
            <a:normAutofit/>
          </a:bodyPr>
          <a:lstStyle/>
          <a:p>
            <a:r>
              <a:rPr lang="sv-SE" sz="2000" b="0" spc="0">
                <a:latin typeface="Open Sans"/>
                <a:ea typeface="Open Sans"/>
                <a:cs typeface="Open Sans"/>
              </a:rPr>
              <a:t>HUR SKA MAN GÖRA MED ANMÄLAN FÖR FÄRDIGA PRODUKTER FRÅN INDUSTRIN ELLER DÅ RÅVARA BLANDATS IHOP PÅ EN TERMINAL?</a:t>
            </a:r>
            <a:endParaRPr lang="en-US" sz="3200" b="0" spc="0">
              <a:latin typeface="Open Sans"/>
              <a:ea typeface="Open Sans"/>
              <a:cs typeface="Open Sans"/>
            </a:endParaRPr>
          </a:p>
        </p:txBody>
      </p:sp>
      <p:pic>
        <p:nvPicPr>
          <p:cNvPr id="85" name="Bildobjekt 84" descr="En bild som visar clipart, tecknad serie&#10;&#10;Automatiskt genererad beskrivning">
            <a:extLst>
              <a:ext uri="{FF2B5EF4-FFF2-40B4-BE49-F238E27FC236}">
                <a16:creationId xmlns:a16="http://schemas.microsoft.com/office/drawing/2014/main" id="{EBC06041-4D04-F5FE-A534-489BC9339DAB}"/>
              </a:ext>
            </a:extLst>
          </p:cNvPr>
          <p:cNvPicPr>
            <a:picLocks noChangeAspect="1"/>
          </p:cNvPicPr>
          <p:nvPr/>
        </p:nvPicPr>
        <p:blipFill>
          <a:blip r:embed="rId3"/>
          <a:stretch>
            <a:fillRect/>
          </a:stretch>
        </p:blipFill>
        <p:spPr>
          <a:xfrm>
            <a:off x="10833599" y="1268078"/>
            <a:ext cx="898954" cy="894632"/>
          </a:xfrm>
          <a:prstGeom prst="rect">
            <a:avLst/>
          </a:prstGeom>
        </p:spPr>
      </p:pic>
      <p:sp>
        <p:nvSpPr>
          <p:cNvPr id="11" name="textruta 10">
            <a:extLst>
              <a:ext uri="{FF2B5EF4-FFF2-40B4-BE49-F238E27FC236}">
                <a16:creationId xmlns:a16="http://schemas.microsoft.com/office/drawing/2014/main" id="{689B7805-7927-22FF-6CCB-8DFEE616E067}"/>
              </a:ext>
            </a:extLst>
          </p:cNvPr>
          <p:cNvSpPr txBox="1"/>
          <p:nvPr/>
        </p:nvSpPr>
        <p:spPr>
          <a:xfrm>
            <a:off x="4989146" y="3863531"/>
            <a:ext cx="1544713" cy="276999"/>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Calibri" panose="020F0502020204030204"/>
                <a:ea typeface="+mn-ea"/>
                <a:cs typeface="+mn-cs"/>
              </a:rPr>
              <a:t>The Industry LTD</a:t>
            </a:r>
          </a:p>
        </p:txBody>
      </p:sp>
      <p:sp>
        <p:nvSpPr>
          <p:cNvPr id="49" name="Rektangel 48">
            <a:extLst>
              <a:ext uri="{FF2B5EF4-FFF2-40B4-BE49-F238E27FC236}">
                <a16:creationId xmlns:a16="http://schemas.microsoft.com/office/drawing/2014/main" id="{E33EAB7A-4370-7A21-B8B3-630137317F61}"/>
              </a:ext>
            </a:extLst>
          </p:cNvPr>
          <p:cNvSpPr/>
          <p:nvPr/>
        </p:nvSpPr>
        <p:spPr>
          <a:xfrm>
            <a:off x="1649236" y="2735659"/>
            <a:ext cx="1552086"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5 m3</a:t>
            </a:r>
          </a:p>
        </p:txBody>
      </p:sp>
      <p:sp>
        <p:nvSpPr>
          <p:cNvPr id="50" name="Rektangel 49">
            <a:extLst>
              <a:ext uri="{FF2B5EF4-FFF2-40B4-BE49-F238E27FC236}">
                <a16:creationId xmlns:a16="http://schemas.microsoft.com/office/drawing/2014/main" id="{A519F733-EAA6-8119-466D-87DC3B30C021}"/>
              </a:ext>
            </a:extLst>
          </p:cNvPr>
          <p:cNvSpPr/>
          <p:nvPr/>
        </p:nvSpPr>
        <p:spPr>
          <a:xfrm>
            <a:off x="1660690" y="3095495"/>
            <a:ext cx="1540632"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3 m3</a:t>
            </a:r>
          </a:p>
        </p:txBody>
      </p:sp>
      <p:sp>
        <p:nvSpPr>
          <p:cNvPr id="51" name="Rektangel 50">
            <a:extLst>
              <a:ext uri="{FF2B5EF4-FFF2-40B4-BE49-F238E27FC236}">
                <a16:creationId xmlns:a16="http://schemas.microsoft.com/office/drawing/2014/main" id="{2358A4BC-3574-3FE7-DF4A-C614402305EF}"/>
              </a:ext>
            </a:extLst>
          </p:cNvPr>
          <p:cNvSpPr/>
          <p:nvPr/>
        </p:nvSpPr>
        <p:spPr>
          <a:xfrm>
            <a:off x="1649235" y="3462014"/>
            <a:ext cx="1552085"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sv-SE" sz="1000">
                <a:solidFill>
                  <a:srgbClr val="FFFFFF"/>
                </a:solidFill>
                <a:latin typeface="Calibri" panose="020F0502020204030204"/>
              </a:rPr>
              <a:t>Leverans</a:t>
            </a: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 46 m3</a:t>
            </a:r>
          </a:p>
        </p:txBody>
      </p:sp>
      <p:sp>
        <p:nvSpPr>
          <p:cNvPr id="52" name="Rektangel 51">
            <a:extLst>
              <a:ext uri="{FF2B5EF4-FFF2-40B4-BE49-F238E27FC236}">
                <a16:creationId xmlns:a16="http://schemas.microsoft.com/office/drawing/2014/main" id="{C092BA72-B655-1918-CD34-715250606621}"/>
              </a:ext>
            </a:extLst>
          </p:cNvPr>
          <p:cNvSpPr/>
          <p:nvPr/>
        </p:nvSpPr>
        <p:spPr>
          <a:xfrm>
            <a:off x="1654052" y="3829344"/>
            <a:ext cx="1547268"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3 m3</a:t>
            </a:r>
          </a:p>
        </p:txBody>
      </p:sp>
      <p:sp>
        <p:nvSpPr>
          <p:cNvPr id="54" name="Rektangel 53">
            <a:extLst>
              <a:ext uri="{FF2B5EF4-FFF2-40B4-BE49-F238E27FC236}">
                <a16:creationId xmlns:a16="http://schemas.microsoft.com/office/drawing/2014/main" id="{B220EB02-4A8C-63C3-B4B6-F891A34031BA}"/>
              </a:ext>
            </a:extLst>
          </p:cNvPr>
          <p:cNvSpPr/>
          <p:nvPr/>
        </p:nvSpPr>
        <p:spPr>
          <a:xfrm>
            <a:off x="1649235" y="4191824"/>
            <a:ext cx="1547267"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5 m3</a:t>
            </a:r>
          </a:p>
        </p:txBody>
      </p:sp>
      <p:sp>
        <p:nvSpPr>
          <p:cNvPr id="55" name="Rektangel 54">
            <a:extLst>
              <a:ext uri="{FF2B5EF4-FFF2-40B4-BE49-F238E27FC236}">
                <a16:creationId xmlns:a16="http://schemas.microsoft.com/office/drawing/2014/main" id="{9DC459E8-9CF0-2DF7-9EC2-EAC426350A3E}"/>
              </a:ext>
            </a:extLst>
          </p:cNvPr>
          <p:cNvSpPr/>
          <p:nvPr/>
        </p:nvSpPr>
        <p:spPr>
          <a:xfrm>
            <a:off x="1649103" y="4686921"/>
            <a:ext cx="1555461"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4 m3</a:t>
            </a:r>
          </a:p>
        </p:txBody>
      </p:sp>
      <p:sp>
        <p:nvSpPr>
          <p:cNvPr id="56" name="Rektangel 55">
            <a:extLst>
              <a:ext uri="{FF2B5EF4-FFF2-40B4-BE49-F238E27FC236}">
                <a16:creationId xmlns:a16="http://schemas.microsoft.com/office/drawing/2014/main" id="{833EEA29-AE2D-82DA-C65D-76A1E4509AD4}"/>
              </a:ext>
            </a:extLst>
          </p:cNvPr>
          <p:cNvSpPr/>
          <p:nvPr/>
        </p:nvSpPr>
        <p:spPr>
          <a:xfrm>
            <a:off x="1637133" y="5436946"/>
            <a:ext cx="1561139"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4 m3</a:t>
            </a:r>
          </a:p>
        </p:txBody>
      </p:sp>
      <p:sp>
        <p:nvSpPr>
          <p:cNvPr id="57" name="Rektangel 56">
            <a:extLst>
              <a:ext uri="{FF2B5EF4-FFF2-40B4-BE49-F238E27FC236}">
                <a16:creationId xmlns:a16="http://schemas.microsoft.com/office/drawing/2014/main" id="{B3A0D312-E444-478F-F5B2-56768A2C88C4}"/>
              </a:ext>
            </a:extLst>
          </p:cNvPr>
          <p:cNvSpPr/>
          <p:nvPr/>
        </p:nvSpPr>
        <p:spPr>
          <a:xfrm>
            <a:off x="1657297" y="5068295"/>
            <a:ext cx="1540976"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46 m3</a:t>
            </a:r>
          </a:p>
        </p:txBody>
      </p:sp>
      <p:cxnSp>
        <p:nvCxnSpPr>
          <p:cNvPr id="95" name="Rak pilkoppling 94">
            <a:extLst>
              <a:ext uri="{FF2B5EF4-FFF2-40B4-BE49-F238E27FC236}">
                <a16:creationId xmlns:a16="http://schemas.microsoft.com/office/drawing/2014/main" id="{D4C9F90D-ABAA-941D-4C45-C097A9DA3701}"/>
              </a:ext>
            </a:extLst>
          </p:cNvPr>
          <p:cNvCxnSpPr>
            <a:cxnSpLocks/>
          </p:cNvCxnSpPr>
          <p:nvPr/>
        </p:nvCxnSpPr>
        <p:spPr>
          <a:xfrm>
            <a:off x="6295152" y="4194465"/>
            <a:ext cx="1330766" cy="129835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19" name="Bildobjekt 18" descr="En bild som visar clipart, tecknad serie&#10;&#10;Automatiskt genererad beskrivning">
            <a:extLst>
              <a:ext uri="{FF2B5EF4-FFF2-40B4-BE49-F238E27FC236}">
                <a16:creationId xmlns:a16="http://schemas.microsoft.com/office/drawing/2014/main" id="{FD4792C8-4764-507C-341F-01AE49170F53}"/>
              </a:ext>
            </a:extLst>
          </p:cNvPr>
          <p:cNvPicPr>
            <a:picLocks noChangeAspect="1"/>
          </p:cNvPicPr>
          <p:nvPr/>
        </p:nvPicPr>
        <p:blipFill>
          <a:blip r:embed="rId3"/>
          <a:stretch>
            <a:fillRect/>
          </a:stretch>
        </p:blipFill>
        <p:spPr>
          <a:xfrm>
            <a:off x="10891422" y="5059779"/>
            <a:ext cx="898954" cy="894632"/>
          </a:xfrm>
          <a:prstGeom prst="rect">
            <a:avLst/>
          </a:prstGeom>
        </p:spPr>
      </p:pic>
      <p:pic>
        <p:nvPicPr>
          <p:cNvPr id="20" name="Bildobjekt 19" descr="En bild som visar clipart, tecknad serie&#10;&#10;Automatiskt genererad beskrivning">
            <a:extLst>
              <a:ext uri="{FF2B5EF4-FFF2-40B4-BE49-F238E27FC236}">
                <a16:creationId xmlns:a16="http://schemas.microsoft.com/office/drawing/2014/main" id="{FDC00EBF-35B8-7F97-98F8-30D329AC6F87}"/>
              </a:ext>
            </a:extLst>
          </p:cNvPr>
          <p:cNvPicPr>
            <a:picLocks noChangeAspect="1"/>
          </p:cNvPicPr>
          <p:nvPr/>
        </p:nvPicPr>
        <p:blipFill>
          <a:blip r:embed="rId3"/>
          <a:stretch>
            <a:fillRect/>
          </a:stretch>
        </p:blipFill>
        <p:spPr>
          <a:xfrm>
            <a:off x="10861014" y="3059269"/>
            <a:ext cx="898954" cy="894632"/>
          </a:xfrm>
          <a:prstGeom prst="rect">
            <a:avLst/>
          </a:prstGeom>
        </p:spPr>
      </p:pic>
      <p:cxnSp>
        <p:nvCxnSpPr>
          <p:cNvPr id="43" name="Rak pilkoppling 42">
            <a:extLst>
              <a:ext uri="{FF2B5EF4-FFF2-40B4-BE49-F238E27FC236}">
                <a16:creationId xmlns:a16="http://schemas.microsoft.com/office/drawing/2014/main" id="{7EE3969C-1E34-7F12-B947-387B9F295E72}"/>
              </a:ext>
            </a:extLst>
          </p:cNvPr>
          <p:cNvCxnSpPr>
            <a:cxnSpLocks/>
          </p:cNvCxnSpPr>
          <p:nvPr/>
        </p:nvCxnSpPr>
        <p:spPr>
          <a:xfrm flipV="1">
            <a:off x="6295152" y="2125838"/>
            <a:ext cx="1153213" cy="933431"/>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pic>
        <p:nvPicPr>
          <p:cNvPr id="2" name="Bildobjekt 1" descr="En bild som visar Grafik, design&#10;&#10;Automatiskt genererad beskrivning">
            <a:extLst>
              <a:ext uri="{FF2B5EF4-FFF2-40B4-BE49-F238E27FC236}">
                <a16:creationId xmlns:a16="http://schemas.microsoft.com/office/drawing/2014/main" id="{FD13E95C-CC21-CF4B-B00F-1B1015519CA3}"/>
              </a:ext>
            </a:extLst>
          </p:cNvPr>
          <p:cNvPicPr>
            <a:picLocks noChangeAspect="1"/>
          </p:cNvPicPr>
          <p:nvPr/>
        </p:nvPicPr>
        <p:blipFill>
          <a:blip r:embed="rId4"/>
          <a:stretch>
            <a:fillRect/>
          </a:stretch>
        </p:blipFill>
        <p:spPr>
          <a:xfrm>
            <a:off x="838442" y="2974499"/>
            <a:ext cx="375992" cy="369084"/>
          </a:xfrm>
          <a:prstGeom prst="rect">
            <a:avLst/>
          </a:prstGeom>
        </p:spPr>
      </p:pic>
      <p:pic>
        <p:nvPicPr>
          <p:cNvPr id="6" name="Bildobjekt 5" descr="En bild som visar Grafik, design&#10;&#10;Automatiskt genererad beskrivning">
            <a:extLst>
              <a:ext uri="{FF2B5EF4-FFF2-40B4-BE49-F238E27FC236}">
                <a16:creationId xmlns:a16="http://schemas.microsoft.com/office/drawing/2014/main" id="{D2058104-BFD0-8FC7-BC85-777FB1C954FD}"/>
              </a:ext>
            </a:extLst>
          </p:cNvPr>
          <p:cNvPicPr>
            <a:picLocks noChangeAspect="1"/>
          </p:cNvPicPr>
          <p:nvPr/>
        </p:nvPicPr>
        <p:blipFill>
          <a:blip r:embed="rId4"/>
          <a:stretch>
            <a:fillRect/>
          </a:stretch>
        </p:blipFill>
        <p:spPr>
          <a:xfrm>
            <a:off x="768556" y="3942160"/>
            <a:ext cx="375992" cy="369084"/>
          </a:xfrm>
          <a:prstGeom prst="rect">
            <a:avLst/>
          </a:prstGeom>
        </p:spPr>
      </p:pic>
      <p:pic>
        <p:nvPicPr>
          <p:cNvPr id="8" name="Bildobjekt 7" descr="En bild som visar Grafik, design&#10;&#10;Automatiskt genererad beskrivning">
            <a:extLst>
              <a:ext uri="{FF2B5EF4-FFF2-40B4-BE49-F238E27FC236}">
                <a16:creationId xmlns:a16="http://schemas.microsoft.com/office/drawing/2014/main" id="{0DB71324-2B65-C2D8-9529-C8D36D909963}"/>
              </a:ext>
            </a:extLst>
          </p:cNvPr>
          <p:cNvPicPr>
            <a:picLocks noChangeAspect="1"/>
          </p:cNvPicPr>
          <p:nvPr/>
        </p:nvPicPr>
        <p:blipFill>
          <a:blip r:embed="rId4"/>
          <a:stretch>
            <a:fillRect/>
          </a:stretch>
        </p:blipFill>
        <p:spPr>
          <a:xfrm>
            <a:off x="800221" y="4826257"/>
            <a:ext cx="375992" cy="369084"/>
          </a:xfrm>
          <a:prstGeom prst="rect">
            <a:avLst/>
          </a:prstGeom>
        </p:spPr>
      </p:pic>
      <p:pic>
        <p:nvPicPr>
          <p:cNvPr id="13" name="Bildobjekt 12" descr="En bild som visar Grafik, design&#10;&#10;Automatiskt genererad beskrivning">
            <a:extLst>
              <a:ext uri="{FF2B5EF4-FFF2-40B4-BE49-F238E27FC236}">
                <a16:creationId xmlns:a16="http://schemas.microsoft.com/office/drawing/2014/main" id="{242722A4-81EE-2E32-E985-950426CBA576}"/>
              </a:ext>
            </a:extLst>
          </p:cNvPr>
          <p:cNvPicPr>
            <a:picLocks noChangeAspect="1"/>
          </p:cNvPicPr>
          <p:nvPr/>
        </p:nvPicPr>
        <p:blipFill>
          <a:blip r:embed="rId4"/>
          <a:stretch>
            <a:fillRect/>
          </a:stretch>
        </p:blipFill>
        <p:spPr>
          <a:xfrm>
            <a:off x="800447" y="5467820"/>
            <a:ext cx="375992" cy="369084"/>
          </a:xfrm>
          <a:prstGeom prst="rect">
            <a:avLst/>
          </a:prstGeom>
        </p:spPr>
      </p:pic>
      <p:sp>
        <p:nvSpPr>
          <p:cNvPr id="23" name="Höger klammerparentes 22">
            <a:extLst>
              <a:ext uri="{FF2B5EF4-FFF2-40B4-BE49-F238E27FC236}">
                <a16:creationId xmlns:a16="http://schemas.microsoft.com/office/drawing/2014/main" id="{F361E7A9-26A5-5A5E-B67D-DA6EA3D9B985}"/>
              </a:ext>
            </a:extLst>
          </p:cNvPr>
          <p:cNvSpPr/>
          <p:nvPr/>
        </p:nvSpPr>
        <p:spPr>
          <a:xfrm rot="10800000">
            <a:off x="1270062" y="2712231"/>
            <a:ext cx="279374" cy="921211"/>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24" name="Höger klammerparentes 23">
            <a:extLst>
              <a:ext uri="{FF2B5EF4-FFF2-40B4-BE49-F238E27FC236}">
                <a16:creationId xmlns:a16="http://schemas.microsoft.com/office/drawing/2014/main" id="{7651C6DB-043B-D73C-F92F-0F563CA31A9F}"/>
              </a:ext>
            </a:extLst>
          </p:cNvPr>
          <p:cNvSpPr/>
          <p:nvPr/>
        </p:nvSpPr>
        <p:spPr>
          <a:xfrm rot="10800000">
            <a:off x="1252952" y="3792297"/>
            <a:ext cx="279374" cy="66880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5" name="Höger klammerparentes 34">
            <a:extLst>
              <a:ext uri="{FF2B5EF4-FFF2-40B4-BE49-F238E27FC236}">
                <a16:creationId xmlns:a16="http://schemas.microsoft.com/office/drawing/2014/main" id="{2D236CD9-E200-07E5-2230-FE3B362D04D3}"/>
              </a:ext>
            </a:extLst>
          </p:cNvPr>
          <p:cNvSpPr/>
          <p:nvPr/>
        </p:nvSpPr>
        <p:spPr>
          <a:xfrm rot="10800000">
            <a:off x="1257087" y="4655959"/>
            <a:ext cx="279374" cy="668809"/>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cxnSp>
        <p:nvCxnSpPr>
          <p:cNvPr id="44" name="Rak koppling 43">
            <a:extLst>
              <a:ext uri="{FF2B5EF4-FFF2-40B4-BE49-F238E27FC236}">
                <a16:creationId xmlns:a16="http://schemas.microsoft.com/office/drawing/2014/main" id="{153F87D2-6032-8B56-DC1F-2894968A91C9}"/>
              </a:ext>
            </a:extLst>
          </p:cNvPr>
          <p:cNvCxnSpPr/>
          <p:nvPr/>
        </p:nvCxnSpPr>
        <p:spPr>
          <a:xfrm>
            <a:off x="1273306" y="5556366"/>
            <a:ext cx="262265" cy="0"/>
          </a:xfrm>
          <a:prstGeom prst="line">
            <a:avLst/>
          </a:prstGeom>
        </p:spPr>
        <p:style>
          <a:lnRef idx="1">
            <a:schemeClr val="accent1"/>
          </a:lnRef>
          <a:fillRef idx="0">
            <a:schemeClr val="accent1"/>
          </a:fillRef>
          <a:effectRef idx="0">
            <a:schemeClr val="accent1"/>
          </a:effectRef>
          <a:fontRef idx="minor">
            <a:schemeClr val="tx1"/>
          </a:fontRef>
        </p:style>
      </p:cxnSp>
      <p:sp>
        <p:nvSpPr>
          <p:cNvPr id="3" name="textruta 2">
            <a:extLst>
              <a:ext uri="{FF2B5EF4-FFF2-40B4-BE49-F238E27FC236}">
                <a16:creationId xmlns:a16="http://schemas.microsoft.com/office/drawing/2014/main" id="{AC2BDE67-193B-6688-D242-7283EB696287}"/>
              </a:ext>
            </a:extLst>
          </p:cNvPr>
          <p:cNvSpPr txBox="1"/>
          <p:nvPr/>
        </p:nvSpPr>
        <p:spPr>
          <a:xfrm>
            <a:off x="652236" y="3334335"/>
            <a:ext cx="540527" cy="369332"/>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61" name="textruta 60">
            <a:extLst>
              <a:ext uri="{FF2B5EF4-FFF2-40B4-BE49-F238E27FC236}">
                <a16:creationId xmlns:a16="http://schemas.microsoft.com/office/drawing/2014/main" id="{30DFE9BC-D8FD-0BAF-3EC3-30FA2A137C18}"/>
              </a:ext>
            </a:extLst>
          </p:cNvPr>
          <p:cNvSpPr txBox="1"/>
          <p:nvPr/>
        </p:nvSpPr>
        <p:spPr>
          <a:xfrm>
            <a:off x="2028025" y="1042024"/>
            <a:ext cx="20926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Calibri" panose="020F0502020204030204"/>
                <a:ea typeface="+mn-ea"/>
                <a:cs typeface="+mn-cs"/>
              </a:rPr>
              <a:t>Leveranser:</a:t>
            </a:r>
          </a:p>
        </p:txBody>
      </p:sp>
      <p:cxnSp>
        <p:nvCxnSpPr>
          <p:cNvPr id="78" name="Rak pilkoppling 77">
            <a:extLst>
              <a:ext uri="{FF2B5EF4-FFF2-40B4-BE49-F238E27FC236}">
                <a16:creationId xmlns:a16="http://schemas.microsoft.com/office/drawing/2014/main" id="{DD6C2358-07DB-546B-5B19-A7E76278EDBA}"/>
              </a:ext>
            </a:extLst>
          </p:cNvPr>
          <p:cNvCxnSpPr>
            <a:cxnSpLocks/>
          </p:cNvCxnSpPr>
          <p:nvPr/>
        </p:nvCxnSpPr>
        <p:spPr>
          <a:xfrm>
            <a:off x="6496567" y="3673903"/>
            <a:ext cx="1129351"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grpSp>
        <p:nvGrpSpPr>
          <p:cNvPr id="21" name="Grupp 20">
            <a:extLst>
              <a:ext uri="{FF2B5EF4-FFF2-40B4-BE49-F238E27FC236}">
                <a16:creationId xmlns:a16="http://schemas.microsoft.com/office/drawing/2014/main" id="{7275AC4E-A5FD-E559-6286-83E1C6502E0A}"/>
              </a:ext>
            </a:extLst>
          </p:cNvPr>
          <p:cNvGrpSpPr/>
          <p:nvPr/>
        </p:nvGrpSpPr>
        <p:grpSpPr>
          <a:xfrm>
            <a:off x="3573280" y="3556769"/>
            <a:ext cx="1000911" cy="152528"/>
            <a:chOff x="3598517" y="6080782"/>
            <a:chExt cx="1000911" cy="152528"/>
          </a:xfrm>
        </p:grpSpPr>
        <p:pic>
          <p:nvPicPr>
            <p:cNvPr id="7" name="Bildobjekt 6">
              <a:extLst>
                <a:ext uri="{FF2B5EF4-FFF2-40B4-BE49-F238E27FC236}">
                  <a16:creationId xmlns:a16="http://schemas.microsoft.com/office/drawing/2014/main" id="{C1779247-6F5E-0272-591D-C237780764CE}"/>
                </a:ext>
              </a:extLst>
            </p:cNvPr>
            <p:cNvPicPr>
              <a:picLocks noChangeAspect="1"/>
            </p:cNvPicPr>
            <p:nvPr/>
          </p:nvPicPr>
          <p:blipFill>
            <a:blip r:embed="rId5"/>
            <a:stretch>
              <a:fillRect/>
            </a:stretch>
          </p:blipFill>
          <p:spPr>
            <a:xfrm>
              <a:off x="4145883" y="6087587"/>
              <a:ext cx="183786" cy="140119"/>
            </a:xfrm>
            <a:prstGeom prst="rect">
              <a:avLst/>
            </a:prstGeom>
          </p:spPr>
        </p:pic>
        <p:pic>
          <p:nvPicPr>
            <p:cNvPr id="9" name="Bildobjekt 8">
              <a:extLst>
                <a:ext uri="{FF2B5EF4-FFF2-40B4-BE49-F238E27FC236}">
                  <a16:creationId xmlns:a16="http://schemas.microsoft.com/office/drawing/2014/main" id="{DF5D0127-9AF6-D91A-E4FA-51E71963D16E}"/>
                </a:ext>
              </a:extLst>
            </p:cNvPr>
            <p:cNvPicPr>
              <a:picLocks noChangeAspect="1"/>
            </p:cNvPicPr>
            <p:nvPr/>
          </p:nvPicPr>
          <p:blipFill>
            <a:blip r:embed="rId5"/>
            <a:stretch>
              <a:fillRect/>
            </a:stretch>
          </p:blipFill>
          <p:spPr>
            <a:xfrm>
              <a:off x="4415642" y="6087587"/>
              <a:ext cx="183786" cy="140119"/>
            </a:xfrm>
            <a:prstGeom prst="rect">
              <a:avLst/>
            </a:prstGeom>
          </p:spPr>
        </p:pic>
        <p:pic>
          <p:nvPicPr>
            <p:cNvPr id="10" name="Bildobjekt 9">
              <a:extLst>
                <a:ext uri="{FF2B5EF4-FFF2-40B4-BE49-F238E27FC236}">
                  <a16:creationId xmlns:a16="http://schemas.microsoft.com/office/drawing/2014/main" id="{75907C3E-58B4-B4D7-511B-C8B1EA9E7F76}"/>
                </a:ext>
              </a:extLst>
            </p:cNvPr>
            <p:cNvPicPr>
              <a:picLocks noChangeAspect="1"/>
            </p:cNvPicPr>
            <p:nvPr/>
          </p:nvPicPr>
          <p:blipFill>
            <a:blip r:embed="rId5"/>
            <a:stretch>
              <a:fillRect/>
            </a:stretch>
          </p:blipFill>
          <p:spPr>
            <a:xfrm>
              <a:off x="3598517" y="6087586"/>
              <a:ext cx="191138" cy="145724"/>
            </a:xfrm>
            <a:prstGeom prst="rect">
              <a:avLst/>
            </a:prstGeom>
          </p:spPr>
        </p:pic>
        <p:pic>
          <p:nvPicPr>
            <p:cNvPr id="12" name="Bildobjekt 11">
              <a:extLst>
                <a:ext uri="{FF2B5EF4-FFF2-40B4-BE49-F238E27FC236}">
                  <a16:creationId xmlns:a16="http://schemas.microsoft.com/office/drawing/2014/main" id="{9A4798E7-0E59-7EFC-E620-0035C9207AAF}"/>
                </a:ext>
              </a:extLst>
            </p:cNvPr>
            <p:cNvPicPr>
              <a:picLocks noChangeAspect="1"/>
            </p:cNvPicPr>
            <p:nvPr/>
          </p:nvPicPr>
          <p:blipFill>
            <a:blip r:embed="rId5"/>
            <a:stretch>
              <a:fillRect/>
            </a:stretch>
          </p:blipFill>
          <p:spPr>
            <a:xfrm>
              <a:off x="3873287" y="6083859"/>
              <a:ext cx="183786" cy="140119"/>
            </a:xfrm>
            <a:prstGeom prst="rect">
              <a:avLst/>
            </a:prstGeom>
          </p:spPr>
        </p:pic>
        <p:pic>
          <p:nvPicPr>
            <p:cNvPr id="14" name="Bildobjekt 13">
              <a:extLst>
                <a:ext uri="{FF2B5EF4-FFF2-40B4-BE49-F238E27FC236}">
                  <a16:creationId xmlns:a16="http://schemas.microsoft.com/office/drawing/2014/main" id="{B9FB65D8-836A-28CF-4380-99FD72AE9E0D}"/>
                </a:ext>
              </a:extLst>
            </p:cNvPr>
            <p:cNvPicPr>
              <a:picLocks noChangeAspect="1"/>
            </p:cNvPicPr>
            <p:nvPr/>
          </p:nvPicPr>
          <p:blipFill>
            <a:blip r:embed="rId5"/>
            <a:stretch>
              <a:fillRect/>
            </a:stretch>
          </p:blipFill>
          <p:spPr>
            <a:xfrm rot="10800000">
              <a:off x="4291667" y="6087586"/>
              <a:ext cx="183786" cy="140119"/>
            </a:xfrm>
            <a:prstGeom prst="rect">
              <a:avLst/>
            </a:prstGeom>
          </p:spPr>
        </p:pic>
        <p:pic>
          <p:nvPicPr>
            <p:cNvPr id="15" name="Bildobjekt 14">
              <a:extLst>
                <a:ext uri="{FF2B5EF4-FFF2-40B4-BE49-F238E27FC236}">
                  <a16:creationId xmlns:a16="http://schemas.microsoft.com/office/drawing/2014/main" id="{E4F753AD-CBEE-8C8F-D79A-11F572988D21}"/>
                </a:ext>
              </a:extLst>
            </p:cNvPr>
            <p:cNvPicPr>
              <a:picLocks noChangeAspect="1"/>
            </p:cNvPicPr>
            <p:nvPr/>
          </p:nvPicPr>
          <p:blipFill>
            <a:blip r:embed="rId5"/>
            <a:stretch>
              <a:fillRect/>
            </a:stretch>
          </p:blipFill>
          <p:spPr>
            <a:xfrm rot="10800000">
              <a:off x="3738460" y="6080782"/>
              <a:ext cx="183786" cy="140119"/>
            </a:xfrm>
            <a:prstGeom prst="rect">
              <a:avLst/>
            </a:prstGeom>
          </p:spPr>
        </p:pic>
        <p:pic>
          <p:nvPicPr>
            <p:cNvPr id="16" name="Bildobjekt 15">
              <a:extLst>
                <a:ext uri="{FF2B5EF4-FFF2-40B4-BE49-F238E27FC236}">
                  <a16:creationId xmlns:a16="http://schemas.microsoft.com/office/drawing/2014/main" id="{623AE3B3-19BA-DACD-DB7F-A7AA8589F708}"/>
                </a:ext>
              </a:extLst>
            </p:cNvPr>
            <p:cNvPicPr>
              <a:picLocks noChangeAspect="1"/>
            </p:cNvPicPr>
            <p:nvPr/>
          </p:nvPicPr>
          <p:blipFill>
            <a:blip r:embed="rId5"/>
            <a:stretch>
              <a:fillRect/>
            </a:stretch>
          </p:blipFill>
          <p:spPr>
            <a:xfrm rot="10800000">
              <a:off x="4019703" y="6080783"/>
              <a:ext cx="183786" cy="140119"/>
            </a:xfrm>
            <a:prstGeom prst="rect">
              <a:avLst/>
            </a:prstGeom>
          </p:spPr>
        </p:pic>
      </p:grpSp>
      <p:sp>
        <p:nvSpPr>
          <p:cNvPr id="26" name="Rektangel 25">
            <a:extLst>
              <a:ext uri="{FF2B5EF4-FFF2-40B4-BE49-F238E27FC236}">
                <a16:creationId xmlns:a16="http://schemas.microsoft.com/office/drawing/2014/main" id="{52897466-72D3-76F8-64F3-23A5E45EBEC3}"/>
              </a:ext>
            </a:extLst>
          </p:cNvPr>
          <p:cNvSpPr/>
          <p:nvPr/>
        </p:nvSpPr>
        <p:spPr>
          <a:xfrm>
            <a:off x="7782657" y="1473694"/>
            <a:ext cx="1680939"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A 100  m3</a:t>
            </a:r>
          </a:p>
        </p:txBody>
      </p:sp>
      <p:sp>
        <p:nvSpPr>
          <p:cNvPr id="27" name="Rektangel 26">
            <a:extLst>
              <a:ext uri="{FF2B5EF4-FFF2-40B4-BE49-F238E27FC236}">
                <a16:creationId xmlns:a16="http://schemas.microsoft.com/office/drawing/2014/main" id="{DC4DA157-D888-D859-59C7-24722DD93EA1}"/>
              </a:ext>
            </a:extLst>
          </p:cNvPr>
          <p:cNvSpPr/>
          <p:nvPr/>
        </p:nvSpPr>
        <p:spPr>
          <a:xfrm>
            <a:off x="7782657" y="1937459"/>
            <a:ext cx="1680939"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B 200  m3</a:t>
            </a:r>
          </a:p>
        </p:txBody>
      </p:sp>
      <p:sp>
        <p:nvSpPr>
          <p:cNvPr id="28" name="Rektangel 27">
            <a:extLst>
              <a:ext uri="{FF2B5EF4-FFF2-40B4-BE49-F238E27FC236}">
                <a16:creationId xmlns:a16="http://schemas.microsoft.com/office/drawing/2014/main" id="{307BC3A7-07C2-8510-8132-C210D976CEDB}"/>
              </a:ext>
            </a:extLst>
          </p:cNvPr>
          <p:cNvSpPr/>
          <p:nvPr/>
        </p:nvSpPr>
        <p:spPr>
          <a:xfrm>
            <a:off x="7782657" y="2401224"/>
            <a:ext cx="1680939"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C 200  m3</a:t>
            </a:r>
          </a:p>
        </p:txBody>
      </p:sp>
      <p:sp>
        <p:nvSpPr>
          <p:cNvPr id="30" name="textruta 29">
            <a:extLst>
              <a:ext uri="{FF2B5EF4-FFF2-40B4-BE49-F238E27FC236}">
                <a16:creationId xmlns:a16="http://schemas.microsoft.com/office/drawing/2014/main" id="{09B8AA76-4164-40F7-40B3-1B0F2B917C6C}"/>
              </a:ext>
            </a:extLst>
          </p:cNvPr>
          <p:cNvSpPr txBox="1"/>
          <p:nvPr/>
        </p:nvSpPr>
        <p:spPr>
          <a:xfrm>
            <a:off x="10900858" y="1991157"/>
            <a:ext cx="1228426"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Kund A</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3 leveranser av sågade</a:t>
            </a:r>
            <a:r>
              <a:rPr lang="sv-SE" sz="1000">
                <a:solidFill>
                  <a:srgbClr val="000000"/>
                </a:solidFill>
                <a:latin typeface="Calibri" panose="020F0502020204030204"/>
              </a:rPr>
              <a:t> trävaror under en månad</a:t>
            </a:r>
            <a:endPar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endParaRPr>
          </a:p>
        </p:txBody>
      </p:sp>
      <p:sp>
        <p:nvSpPr>
          <p:cNvPr id="31" name="textruta 30">
            <a:extLst>
              <a:ext uri="{FF2B5EF4-FFF2-40B4-BE49-F238E27FC236}">
                <a16:creationId xmlns:a16="http://schemas.microsoft.com/office/drawing/2014/main" id="{702A7251-A6FA-A723-21A1-1FA1889FDC4A}"/>
              </a:ext>
            </a:extLst>
          </p:cNvPr>
          <p:cNvSpPr txBox="1"/>
          <p:nvPr/>
        </p:nvSpPr>
        <p:spPr>
          <a:xfrm>
            <a:off x="10932345" y="3725379"/>
            <a:ext cx="989559"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Kund B en båtleverans av sågade trävaror</a:t>
            </a:r>
          </a:p>
        </p:txBody>
      </p:sp>
      <p:sp>
        <p:nvSpPr>
          <p:cNvPr id="32" name="Rektangel 31">
            <a:extLst>
              <a:ext uri="{FF2B5EF4-FFF2-40B4-BE49-F238E27FC236}">
                <a16:creationId xmlns:a16="http://schemas.microsoft.com/office/drawing/2014/main" id="{335C7949-BC4A-84A7-2699-349E89A8D35A}"/>
              </a:ext>
            </a:extLst>
          </p:cNvPr>
          <p:cNvSpPr/>
          <p:nvPr/>
        </p:nvSpPr>
        <p:spPr>
          <a:xfrm>
            <a:off x="7782656" y="3570756"/>
            <a:ext cx="1680939" cy="238840"/>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Leverans D, 4000  m3</a:t>
            </a:r>
          </a:p>
        </p:txBody>
      </p:sp>
      <p:sp>
        <p:nvSpPr>
          <p:cNvPr id="34" name="textruta 33">
            <a:extLst>
              <a:ext uri="{FF2B5EF4-FFF2-40B4-BE49-F238E27FC236}">
                <a16:creationId xmlns:a16="http://schemas.microsoft.com/office/drawing/2014/main" id="{A7F79F8F-C401-D12B-CF5A-A92865C21EC7}"/>
              </a:ext>
            </a:extLst>
          </p:cNvPr>
          <p:cNvSpPr txBox="1"/>
          <p:nvPr/>
        </p:nvSpPr>
        <p:spPr>
          <a:xfrm>
            <a:off x="10953032" y="5825256"/>
            <a:ext cx="989559" cy="707886"/>
          </a:xfrm>
          <a:prstGeom prst="rect">
            <a:avLst/>
          </a:prstGeom>
          <a:noFill/>
        </p:spPr>
        <p:txBody>
          <a:bodyPr wrap="square" lIns="91440" tIns="45720" rIns="91440" bIns="45720" rtlCol="0" anchor="t">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Kund C kontinuerliga leveranser av sågverksflis</a:t>
            </a:r>
          </a:p>
        </p:txBody>
      </p:sp>
      <p:sp>
        <p:nvSpPr>
          <p:cNvPr id="36" name="Rektangel 35">
            <a:extLst>
              <a:ext uri="{FF2B5EF4-FFF2-40B4-BE49-F238E27FC236}">
                <a16:creationId xmlns:a16="http://schemas.microsoft.com/office/drawing/2014/main" id="{A918DE12-F6DB-E4D8-7838-304741513514}"/>
              </a:ext>
            </a:extLst>
          </p:cNvPr>
          <p:cNvSpPr/>
          <p:nvPr/>
        </p:nvSpPr>
        <p:spPr>
          <a:xfrm>
            <a:off x="7759612" y="5217968"/>
            <a:ext cx="1680939" cy="578253"/>
          </a:xfrm>
          <a:prstGeom prst="rect">
            <a:avLst/>
          </a:prstGeom>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1000  m3s– </a:t>
            </a:r>
            <a:r>
              <a:rPr lang="sv-SE" sz="1000">
                <a:solidFill>
                  <a:srgbClr val="FFFFFF"/>
                </a:solidFill>
                <a:latin typeface="Calibri" panose="020F0502020204030204"/>
              </a:rPr>
              <a:t>som många enskilda leveranser under tex en månad</a:t>
            </a:r>
            <a:endPar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endParaRPr>
          </a:p>
        </p:txBody>
      </p:sp>
      <p:pic>
        <p:nvPicPr>
          <p:cNvPr id="22" name="Bildobjekt 21" descr="En bild som visar Grafik, symbol, design&#10;&#10;Automatiskt genererad beskrivning">
            <a:extLst>
              <a:ext uri="{FF2B5EF4-FFF2-40B4-BE49-F238E27FC236}">
                <a16:creationId xmlns:a16="http://schemas.microsoft.com/office/drawing/2014/main" id="{37B51B52-6F0D-055C-5323-84DF0111803C}"/>
              </a:ext>
            </a:extLst>
          </p:cNvPr>
          <p:cNvPicPr>
            <a:picLocks noChangeAspect="1"/>
          </p:cNvPicPr>
          <p:nvPr/>
        </p:nvPicPr>
        <p:blipFill>
          <a:blip r:embed="rId6"/>
          <a:stretch>
            <a:fillRect/>
          </a:stretch>
        </p:blipFill>
        <p:spPr>
          <a:xfrm>
            <a:off x="9917834" y="3276013"/>
            <a:ext cx="601897" cy="620136"/>
          </a:xfrm>
          <a:prstGeom prst="rect">
            <a:avLst/>
          </a:prstGeom>
        </p:spPr>
      </p:pic>
      <p:sp>
        <p:nvSpPr>
          <p:cNvPr id="40" name="Rektangel 39">
            <a:extLst>
              <a:ext uri="{FF2B5EF4-FFF2-40B4-BE49-F238E27FC236}">
                <a16:creationId xmlns:a16="http://schemas.microsoft.com/office/drawing/2014/main" id="{DA05BC4F-DFE0-03F7-4D59-317FC609696F}"/>
              </a:ext>
            </a:extLst>
          </p:cNvPr>
          <p:cNvSpPr/>
          <p:nvPr/>
        </p:nvSpPr>
        <p:spPr>
          <a:xfrm>
            <a:off x="9586643" y="4143843"/>
            <a:ext cx="683761" cy="26450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nvGrpSpPr>
          <p:cNvPr id="41" name="Grupp 40">
            <a:extLst>
              <a:ext uri="{FF2B5EF4-FFF2-40B4-BE49-F238E27FC236}">
                <a16:creationId xmlns:a16="http://schemas.microsoft.com/office/drawing/2014/main" id="{9D1A6804-FAEE-5C6E-0E77-BAA7168631DE}"/>
              </a:ext>
            </a:extLst>
          </p:cNvPr>
          <p:cNvGrpSpPr/>
          <p:nvPr/>
        </p:nvGrpSpPr>
        <p:grpSpPr>
          <a:xfrm>
            <a:off x="9814410" y="1709170"/>
            <a:ext cx="590617" cy="620136"/>
            <a:chOff x="8767362" y="3851877"/>
            <a:chExt cx="794299" cy="1018970"/>
          </a:xfrm>
        </p:grpSpPr>
        <p:pic>
          <p:nvPicPr>
            <p:cNvPr id="38" name="Bildobjekt 37" descr="En bild som visar Grafik, Färggrann, design&#10;&#10;Automatiskt genererad beskrivning">
              <a:extLst>
                <a:ext uri="{FF2B5EF4-FFF2-40B4-BE49-F238E27FC236}">
                  <a16:creationId xmlns:a16="http://schemas.microsoft.com/office/drawing/2014/main" id="{A8328D90-A712-F54B-73D8-5BE9FAD93AAA}"/>
                </a:ext>
              </a:extLst>
            </p:cNvPr>
            <p:cNvPicPr>
              <a:picLocks noChangeAspect="1"/>
            </p:cNvPicPr>
            <p:nvPr/>
          </p:nvPicPr>
          <p:blipFill>
            <a:blip r:embed="rId7"/>
            <a:stretch>
              <a:fillRect/>
            </a:stretch>
          </p:blipFill>
          <p:spPr>
            <a:xfrm>
              <a:off x="8767362" y="3989376"/>
              <a:ext cx="794299" cy="881471"/>
            </a:xfrm>
            <a:prstGeom prst="rect">
              <a:avLst/>
            </a:prstGeom>
          </p:spPr>
        </p:pic>
        <p:pic>
          <p:nvPicPr>
            <p:cNvPr id="39" name="Bildobjekt 38" descr="En bild som visar grön, kvadrat, Färggrann, symbol&#10;&#10;Automatiskt genererad beskrivning">
              <a:extLst>
                <a:ext uri="{FF2B5EF4-FFF2-40B4-BE49-F238E27FC236}">
                  <a16:creationId xmlns:a16="http://schemas.microsoft.com/office/drawing/2014/main" id="{953AA188-932C-2F28-CB15-3BA4AC501F61}"/>
                </a:ext>
              </a:extLst>
            </p:cNvPr>
            <p:cNvPicPr>
              <a:picLocks noChangeAspect="1"/>
            </p:cNvPicPr>
            <p:nvPr/>
          </p:nvPicPr>
          <p:blipFill>
            <a:blip r:embed="rId8"/>
            <a:stretch>
              <a:fillRect/>
            </a:stretch>
          </p:blipFill>
          <p:spPr>
            <a:xfrm>
              <a:off x="8796062" y="3851877"/>
              <a:ext cx="690166" cy="291650"/>
            </a:xfrm>
            <a:prstGeom prst="rect">
              <a:avLst/>
            </a:prstGeom>
          </p:spPr>
        </p:pic>
      </p:grpSp>
      <p:pic>
        <p:nvPicPr>
          <p:cNvPr id="18" name="Bildobjekt 17" descr="En bild som visar Grafik, Färggrann, design&#10;&#10;Automatiskt genererad beskrivning">
            <a:extLst>
              <a:ext uri="{FF2B5EF4-FFF2-40B4-BE49-F238E27FC236}">
                <a16:creationId xmlns:a16="http://schemas.microsoft.com/office/drawing/2014/main" id="{FBFBF48A-3733-117C-B74F-07EC9A50780D}"/>
              </a:ext>
            </a:extLst>
          </p:cNvPr>
          <p:cNvPicPr>
            <a:picLocks noChangeAspect="1"/>
          </p:cNvPicPr>
          <p:nvPr/>
        </p:nvPicPr>
        <p:blipFill>
          <a:blip r:embed="rId7"/>
          <a:stretch>
            <a:fillRect/>
          </a:stretch>
        </p:blipFill>
        <p:spPr>
          <a:xfrm>
            <a:off x="9896353" y="5170493"/>
            <a:ext cx="634212" cy="714323"/>
          </a:xfrm>
          <a:prstGeom prst="rect">
            <a:avLst/>
          </a:prstGeom>
        </p:spPr>
      </p:pic>
      <p:pic>
        <p:nvPicPr>
          <p:cNvPr id="25" name="Bildobjekt 24" descr="En bild som visar Grafik, grafisk design, Teckensnitt, Färggrann&#10;&#10;Automatiskt genererad beskrivning">
            <a:extLst>
              <a:ext uri="{FF2B5EF4-FFF2-40B4-BE49-F238E27FC236}">
                <a16:creationId xmlns:a16="http://schemas.microsoft.com/office/drawing/2014/main" id="{8FFF1786-8775-1D54-0708-406492305094}"/>
              </a:ext>
            </a:extLst>
          </p:cNvPr>
          <p:cNvPicPr>
            <a:picLocks noChangeAspect="1"/>
          </p:cNvPicPr>
          <p:nvPr/>
        </p:nvPicPr>
        <p:blipFill>
          <a:blip r:embed="rId9"/>
          <a:stretch>
            <a:fillRect/>
          </a:stretch>
        </p:blipFill>
        <p:spPr>
          <a:xfrm>
            <a:off x="5182980" y="3036492"/>
            <a:ext cx="936315" cy="773104"/>
          </a:xfrm>
          <a:prstGeom prst="rect">
            <a:avLst/>
          </a:prstGeom>
        </p:spPr>
      </p:pic>
      <p:sp>
        <p:nvSpPr>
          <p:cNvPr id="33" name="textruta 32">
            <a:extLst>
              <a:ext uri="{FF2B5EF4-FFF2-40B4-BE49-F238E27FC236}">
                <a16:creationId xmlns:a16="http://schemas.microsoft.com/office/drawing/2014/main" id="{CA3C9E23-42FF-C38A-E98E-A6128F8F501E}"/>
              </a:ext>
            </a:extLst>
          </p:cNvPr>
          <p:cNvSpPr txBox="1"/>
          <p:nvPr/>
        </p:nvSpPr>
        <p:spPr>
          <a:xfrm>
            <a:off x="7814212" y="1216240"/>
            <a:ext cx="209262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Calibri" panose="020F0502020204030204"/>
                <a:ea typeface="+mn-ea"/>
                <a:cs typeface="+mn-cs"/>
              </a:rPr>
              <a:t>Leveranser av produkter:</a:t>
            </a:r>
          </a:p>
        </p:txBody>
      </p:sp>
      <p:sp>
        <p:nvSpPr>
          <p:cNvPr id="46" name="Rektangel 45">
            <a:extLst>
              <a:ext uri="{FF2B5EF4-FFF2-40B4-BE49-F238E27FC236}">
                <a16:creationId xmlns:a16="http://schemas.microsoft.com/office/drawing/2014/main" id="{E2D2B365-749B-15BB-1C79-2CD96C1CF726}"/>
              </a:ext>
            </a:extLst>
          </p:cNvPr>
          <p:cNvSpPr/>
          <p:nvPr/>
        </p:nvSpPr>
        <p:spPr>
          <a:xfrm>
            <a:off x="1649103" y="2257528"/>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47" name="Rektangel 46">
            <a:extLst>
              <a:ext uri="{FF2B5EF4-FFF2-40B4-BE49-F238E27FC236}">
                <a16:creationId xmlns:a16="http://schemas.microsoft.com/office/drawing/2014/main" id="{76534F95-5EA6-921F-3462-30468C1EDCD6}"/>
              </a:ext>
            </a:extLst>
          </p:cNvPr>
          <p:cNvSpPr/>
          <p:nvPr/>
        </p:nvSpPr>
        <p:spPr>
          <a:xfrm>
            <a:off x="1661759" y="1601956"/>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48" name="Rektangel 47">
            <a:extLst>
              <a:ext uri="{FF2B5EF4-FFF2-40B4-BE49-F238E27FC236}">
                <a16:creationId xmlns:a16="http://schemas.microsoft.com/office/drawing/2014/main" id="{CC6D531D-C787-5239-EE89-E2B681494F17}"/>
              </a:ext>
            </a:extLst>
          </p:cNvPr>
          <p:cNvSpPr/>
          <p:nvPr/>
        </p:nvSpPr>
        <p:spPr>
          <a:xfrm>
            <a:off x="1661759" y="1292313"/>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53" name="Rektangel 52">
            <a:extLst>
              <a:ext uri="{FF2B5EF4-FFF2-40B4-BE49-F238E27FC236}">
                <a16:creationId xmlns:a16="http://schemas.microsoft.com/office/drawing/2014/main" id="{81C45052-BAE2-44C8-E887-D08779B0087B}"/>
              </a:ext>
            </a:extLst>
          </p:cNvPr>
          <p:cNvSpPr/>
          <p:nvPr/>
        </p:nvSpPr>
        <p:spPr>
          <a:xfrm>
            <a:off x="1661759" y="1925603"/>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58" name="textruta 57">
            <a:extLst>
              <a:ext uri="{FF2B5EF4-FFF2-40B4-BE49-F238E27FC236}">
                <a16:creationId xmlns:a16="http://schemas.microsoft.com/office/drawing/2014/main" id="{C1B047F2-8598-FBFA-8265-B26A87F9D964}"/>
              </a:ext>
            </a:extLst>
          </p:cNvPr>
          <p:cNvSpPr txBox="1"/>
          <p:nvPr/>
        </p:nvSpPr>
        <p:spPr>
          <a:xfrm>
            <a:off x="577648" y="3407365"/>
            <a:ext cx="7760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EUDR ref A</a:t>
            </a:r>
          </a:p>
        </p:txBody>
      </p:sp>
      <p:sp>
        <p:nvSpPr>
          <p:cNvPr id="59" name="textruta 58">
            <a:extLst>
              <a:ext uri="{FF2B5EF4-FFF2-40B4-BE49-F238E27FC236}">
                <a16:creationId xmlns:a16="http://schemas.microsoft.com/office/drawing/2014/main" id="{771F7C6D-D15D-E14C-8325-B144F1A285A5}"/>
              </a:ext>
            </a:extLst>
          </p:cNvPr>
          <p:cNvSpPr txBox="1"/>
          <p:nvPr/>
        </p:nvSpPr>
        <p:spPr>
          <a:xfrm>
            <a:off x="599274" y="4285234"/>
            <a:ext cx="7760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EUDR ref B</a:t>
            </a:r>
          </a:p>
        </p:txBody>
      </p:sp>
      <p:sp>
        <p:nvSpPr>
          <p:cNvPr id="62" name="textruta 61">
            <a:extLst>
              <a:ext uri="{FF2B5EF4-FFF2-40B4-BE49-F238E27FC236}">
                <a16:creationId xmlns:a16="http://schemas.microsoft.com/office/drawing/2014/main" id="{0EA9CFBD-8761-3C9C-5847-297B0E8EE9FB}"/>
              </a:ext>
            </a:extLst>
          </p:cNvPr>
          <p:cNvSpPr txBox="1"/>
          <p:nvPr/>
        </p:nvSpPr>
        <p:spPr>
          <a:xfrm>
            <a:off x="609804" y="5155481"/>
            <a:ext cx="7760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EUDR ref C</a:t>
            </a:r>
          </a:p>
        </p:txBody>
      </p:sp>
      <p:sp>
        <p:nvSpPr>
          <p:cNvPr id="63" name="textruta 62">
            <a:extLst>
              <a:ext uri="{FF2B5EF4-FFF2-40B4-BE49-F238E27FC236}">
                <a16:creationId xmlns:a16="http://schemas.microsoft.com/office/drawing/2014/main" id="{8AF9042F-6D12-1583-159F-1765C33C8C5E}"/>
              </a:ext>
            </a:extLst>
          </p:cNvPr>
          <p:cNvSpPr txBox="1"/>
          <p:nvPr/>
        </p:nvSpPr>
        <p:spPr>
          <a:xfrm>
            <a:off x="627129" y="5829394"/>
            <a:ext cx="776040"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000000"/>
                </a:solidFill>
                <a:effectLst/>
                <a:uLnTx/>
                <a:uFillTx/>
                <a:latin typeface="Calibri" panose="020F0502020204030204"/>
                <a:ea typeface="+mn-ea"/>
                <a:cs typeface="+mn-cs"/>
              </a:rPr>
              <a:t>EUDR ref D</a:t>
            </a:r>
          </a:p>
        </p:txBody>
      </p:sp>
      <p:sp>
        <p:nvSpPr>
          <p:cNvPr id="29" name="Rektangel 28">
            <a:extLst>
              <a:ext uri="{FF2B5EF4-FFF2-40B4-BE49-F238E27FC236}">
                <a16:creationId xmlns:a16="http://schemas.microsoft.com/office/drawing/2014/main" id="{FFB5F7C6-0394-8C32-C493-8B25DA8AB4E8}"/>
              </a:ext>
            </a:extLst>
          </p:cNvPr>
          <p:cNvSpPr/>
          <p:nvPr/>
        </p:nvSpPr>
        <p:spPr>
          <a:xfrm>
            <a:off x="1631760" y="6211462"/>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37" name="Rektangel 36">
            <a:extLst>
              <a:ext uri="{FF2B5EF4-FFF2-40B4-BE49-F238E27FC236}">
                <a16:creationId xmlns:a16="http://schemas.microsoft.com/office/drawing/2014/main" id="{BD12120E-FB11-3845-3F62-79ACF6FDEDA9}"/>
              </a:ext>
            </a:extLst>
          </p:cNvPr>
          <p:cNvSpPr/>
          <p:nvPr/>
        </p:nvSpPr>
        <p:spPr>
          <a:xfrm>
            <a:off x="1644416" y="5879537"/>
            <a:ext cx="1552086" cy="238840"/>
          </a:xfrm>
          <a:prstGeom prst="rect">
            <a:avLst/>
          </a:prstGeom>
          <a:gradFill flip="none" rotWithShape="1">
            <a:gsLst>
              <a:gs pos="0">
                <a:schemeClr val="accent1">
                  <a:tint val="66000"/>
                  <a:satMod val="160000"/>
                </a:schemeClr>
              </a:gs>
              <a:gs pos="50000">
                <a:schemeClr val="accent1">
                  <a:tint val="44500"/>
                  <a:satMod val="160000"/>
                </a:schemeClr>
              </a:gs>
              <a:gs pos="100000">
                <a:schemeClr val="accent1">
                  <a:tint val="23500"/>
                  <a:satMod val="160000"/>
                </a:schemeClr>
              </a:gs>
            </a:gsLst>
            <a:lin ang="5400000" scaled="1"/>
            <a:tileRect/>
          </a:gradFill>
          <a:ln>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Calibri" panose="020F0502020204030204"/>
                <a:ea typeface="+mn-ea"/>
                <a:cs typeface="+mn-cs"/>
              </a:rPr>
              <a:t>XXX</a:t>
            </a:r>
          </a:p>
        </p:txBody>
      </p:sp>
      <p:sp>
        <p:nvSpPr>
          <p:cNvPr id="42" name="textruta 41">
            <a:extLst>
              <a:ext uri="{FF2B5EF4-FFF2-40B4-BE49-F238E27FC236}">
                <a16:creationId xmlns:a16="http://schemas.microsoft.com/office/drawing/2014/main" id="{EC5019DC-EDBF-120B-C174-B95B0CAC0E90}"/>
              </a:ext>
            </a:extLst>
          </p:cNvPr>
          <p:cNvSpPr txBox="1"/>
          <p:nvPr/>
        </p:nvSpPr>
        <p:spPr>
          <a:xfrm>
            <a:off x="3440317" y="5217968"/>
            <a:ext cx="4167080" cy="1477328"/>
          </a:xfrm>
          <a:prstGeom prst="rect">
            <a:avLst/>
          </a:prstGeom>
          <a:noFill/>
        </p:spPr>
        <p:txBody>
          <a:bodyPr wrap="square" rtlCol="0">
            <a:spAutoFit/>
          </a:bodyPr>
          <a:lstStyle/>
          <a:p>
            <a:r>
              <a:rPr lang="sv-SE"/>
              <a:t>En </a:t>
            </a:r>
            <a:r>
              <a:rPr lang="sv-SE" b="1"/>
              <a:t>modell</a:t>
            </a:r>
            <a:r>
              <a:rPr lang="sv-SE"/>
              <a:t> som EU diskuterar är att anmäla råvara motsvarande </a:t>
            </a:r>
            <a:r>
              <a:rPr lang="sv-SE" u="sng"/>
              <a:t>två gånger </a:t>
            </a:r>
            <a:r>
              <a:rPr lang="sv-SE"/>
              <a:t>den sålda kvantiteten. Man får då på något sätt fördela inkommande leveranser mot sina utleveranser.</a:t>
            </a:r>
          </a:p>
        </p:txBody>
      </p:sp>
      <p:sp>
        <p:nvSpPr>
          <p:cNvPr id="5" name="textruta 4">
            <a:extLst>
              <a:ext uri="{FF2B5EF4-FFF2-40B4-BE49-F238E27FC236}">
                <a16:creationId xmlns:a16="http://schemas.microsoft.com/office/drawing/2014/main" id="{4FA039AB-E17D-8581-F3EC-543256FBBAE0}"/>
              </a:ext>
            </a:extLst>
          </p:cNvPr>
          <p:cNvSpPr txBox="1"/>
          <p:nvPr/>
        </p:nvSpPr>
        <p:spPr>
          <a:xfrm>
            <a:off x="3105273" y="2785789"/>
            <a:ext cx="6570406" cy="2031325"/>
          </a:xfrm>
          <a:prstGeom prst="rect">
            <a:avLst/>
          </a:prstGeom>
          <a:solidFill>
            <a:schemeClr val="bg2"/>
          </a:solidFill>
          <a:ln w="38100">
            <a:solidFill>
              <a:schemeClr val="accent2"/>
            </a:solidFill>
          </a:ln>
        </p:spPr>
        <p:txBody>
          <a:bodyPr wrap="square" rtlCol="0">
            <a:spAutoFit/>
          </a:bodyPr>
          <a:lstStyle/>
          <a:p>
            <a:r>
              <a:rPr lang="sv-SE"/>
              <a:t>EU har hittills inte förtydligat hur information om råvarans geografiska ursprung får hanteras från en </a:t>
            </a:r>
            <a:r>
              <a:rPr lang="sv-SE" err="1"/>
              <a:t>lagerplats</a:t>
            </a:r>
            <a:r>
              <a:rPr lang="sv-SE"/>
              <a:t> eller industri där den inte kan hållas isär längre.</a:t>
            </a:r>
          </a:p>
          <a:p>
            <a:endParaRPr lang="sv-SE"/>
          </a:p>
          <a:p>
            <a:r>
              <a:rPr lang="sv-SE"/>
              <a:t>Skogsindustrierna och Biometria har jobbat med olika tänkbara modeller och kommer att lyfta dessa till EU som förslag på hur vi i Sverige kan hantera detta på ett rimligt sätt. </a:t>
            </a:r>
          </a:p>
        </p:txBody>
      </p:sp>
    </p:spTree>
    <p:extLst>
      <p:ext uri="{BB962C8B-B14F-4D97-AF65-F5344CB8AC3E}">
        <p14:creationId xmlns:p14="http://schemas.microsoft.com/office/powerpoint/2010/main" val="917362646"/>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12AB3A9C-5080-3541-991C-F0EB7D9F1E19}"/>
              </a:ext>
            </a:extLst>
          </p:cNvPr>
          <p:cNvSpPr>
            <a:spLocks noGrp="1"/>
          </p:cNvSpPr>
          <p:nvPr>
            <p:ph idx="1"/>
          </p:nvPr>
        </p:nvSpPr>
        <p:spPr/>
        <p:txBody>
          <a:bodyPr/>
          <a:lstStyle/>
          <a:p>
            <a:r>
              <a:rPr lang="sv-SE" b="0"/>
              <a:t>Vi pratar om en informationsmodell som var och en kan tillämpa i egen systemlösning – </a:t>
            </a:r>
            <a:r>
              <a:rPr lang="sv-SE" b="1"/>
              <a:t>inte ett branschgemensamt IT-stöd</a:t>
            </a:r>
            <a:r>
              <a:rPr lang="sv-SE"/>
              <a:t>.</a:t>
            </a:r>
          </a:p>
          <a:p>
            <a:r>
              <a:rPr lang="sv-SE" b="0"/>
              <a:t>Det finns ännu ingen publicerad skriftlig information om hur en sådan modell får tillämpas</a:t>
            </a:r>
            <a:endParaRPr lang="sv-SE"/>
          </a:p>
        </p:txBody>
      </p:sp>
      <p:sp>
        <p:nvSpPr>
          <p:cNvPr id="2" name="Rubrik 1">
            <a:extLst>
              <a:ext uri="{FF2B5EF4-FFF2-40B4-BE49-F238E27FC236}">
                <a16:creationId xmlns:a16="http://schemas.microsoft.com/office/drawing/2014/main" id="{7BCF7F5A-A860-44AE-6426-FB8C0FF3CD31}"/>
              </a:ext>
            </a:extLst>
          </p:cNvPr>
          <p:cNvSpPr>
            <a:spLocks noGrp="1"/>
          </p:cNvSpPr>
          <p:nvPr>
            <p:ph type="title"/>
          </p:nvPr>
        </p:nvSpPr>
        <p:spPr/>
        <p:txBody>
          <a:bodyPr>
            <a:normAutofit fontScale="90000"/>
          </a:bodyPr>
          <a:lstStyle/>
          <a:p>
            <a:r>
              <a:rPr lang="sv-SE"/>
              <a:t>FÖRTYDLIGANDE</a:t>
            </a:r>
            <a:br>
              <a:rPr lang="sv-SE"/>
            </a:br>
            <a:br>
              <a:rPr lang="sv-SE"/>
            </a:br>
            <a:endParaRPr lang="sv-SE" b="0"/>
          </a:p>
        </p:txBody>
      </p:sp>
    </p:spTree>
    <p:extLst>
      <p:ext uri="{BB962C8B-B14F-4D97-AF65-F5344CB8AC3E}">
        <p14:creationId xmlns:p14="http://schemas.microsoft.com/office/powerpoint/2010/main" val="350098654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12BA775D-702B-6003-4350-35CA0DD3F6F8}"/>
              </a:ext>
            </a:extLst>
          </p:cNvPr>
          <p:cNvSpPr>
            <a:spLocks noGrp="1"/>
          </p:cNvSpPr>
          <p:nvPr>
            <p:ph idx="1"/>
          </p:nvPr>
        </p:nvSpPr>
        <p:spPr/>
        <p:txBody>
          <a:bodyPr/>
          <a:lstStyle/>
          <a:p>
            <a:r>
              <a:rPr lang="sv-SE"/>
              <a:t>Ni ska tillhandahålla ”tillräcklig och verifierbar information” om att tillbörlig aktsamhet har tillämpats.</a:t>
            </a:r>
          </a:p>
          <a:p>
            <a:pPr marL="180975" lvl="1" indent="0">
              <a:buNone/>
            </a:pPr>
            <a:r>
              <a:rPr lang="sv-SE" b="1"/>
              <a:t>Koordinater (</a:t>
            </a:r>
            <a:r>
              <a:rPr lang="sv-SE" b="1" err="1"/>
              <a:t>kartfil</a:t>
            </a:r>
            <a:r>
              <a:rPr lang="sv-SE" b="1"/>
              <a:t>) kan en kund begära att få ta del av. </a:t>
            </a:r>
          </a:p>
          <a:p>
            <a:pPr marL="180975" lvl="1" indent="0">
              <a:buNone/>
            </a:pPr>
            <a:r>
              <a:rPr lang="sv-SE"/>
              <a:t>SKS säger att: ”</a:t>
            </a:r>
            <a:r>
              <a:rPr lang="sv-SE" i="1">
                <a:effectLst/>
                <a:latin typeface="+mn-lt"/>
                <a:ea typeface="Aptos" panose="020B0004020202020204" pitchFamily="34" charset="0"/>
              </a:rPr>
              <a:t>Om en aktör nedströms i sin riskbedömning av leverantörer rimligt säkerställer att leverantören har bra rutiner är det OK att reglera detta i avtal. Om det är en ny leverantör eller om köparen har anledning till osäkerhet gällande leverantörens förmåga att efterleva lagen ska köparen kräva möjlighet att själv, eller via tredje part, göra efterforskningar för att säkerställa lagefterlevnaden och då måste få tillgång till information om råvarans geografiska ursprung. Om leverantören vägrar gå med på detta ska köparen avstå affären.” </a:t>
            </a:r>
          </a:p>
          <a:p>
            <a:pPr marL="180975" lvl="1" indent="0">
              <a:buNone/>
            </a:pPr>
            <a:r>
              <a:rPr lang="sv-SE" sz="1600"/>
              <a:t>Biometria tillhandahåller sökmöjlighet med sammanställning av referensnummer men den inkluderar INTE geospatial information (eftersom den inte finns i VIOL)</a:t>
            </a:r>
          </a:p>
        </p:txBody>
      </p:sp>
      <p:sp>
        <p:nvSpPr>
          <p:cNvPr id="3" name="Rubrik 2">
            <a:extLst>
              <a:ext uri="{FF2B5EF4-FFF2-40B4-BE49-F238E27FC236}">
                <a16:creationId xmlns:a16="http://schemas.microsoft.com/office/drawing/2014/main" id="{6FC94DAA-FB6A-67B7-3D56-DD5FA71DE95C}"/>
              </a:ext>
            </a:extLst>
          </p:cNvPr>
          <p:cNvSpPr>
            <a:spLocks noGrp="1"/>
          </p:cNvSpPr>
          <p:nvPr>
            <p:ph type="title"/>
          </p:nvPr>
        </p:nvSpPr>
        <p:spPr/>
        <p:txBody>
          <a:bodyPr/>
          <a:lstStyle/>
          <a:p>
            <a:r>
              <a:rPr lang="sv-SE"/>
              <a:t>VAD KAN EN KUND NEDSTRÖMS EGENTLIGEN BEGÄRA AV ER?</a:t>
            </a:r>
          </a:p>
        </p:txBody>
      </p:sp>
    </p:spTree>
    <p:extLst>
      <p:ext uri="{BB962C8B-B14F-4D97-AF65-F5344CB8AC3E}">
        <p14:creationId xmlns:p14="http://schemas.microsoft.com/office/powerpoint/2010/main" val="414210311"/>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BB609C05-542E-180C-42D2-B0D8D6F0FD80}"/>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395" imgH="394" progId="TCLayout.ActiveDocument.1">
                  <p:embed/>
                </p:oleObj>
              </mc:Choice>
              <mc:Fallback>
                <p:oleObj name="think-cell Slide" r:id="rId4" imgW="395" imgH="394" progId="TCLayout.ActiveDocument.1">
                  <p:embed/>
                  <p:pic>
                    <p:nvPicPr>
                      <p:cNvPr id="5" name="think-cell data - do not delete" hidden="1">
                        <a:extLst>
                          <a:ext uri="{FF2B5EF4-FFF2-40B4-BE49-F238E27FC236}">
                            <a16:creationId xmlns:a16="http://schemas.microsoft.com/office/drawing/2014/main" id="{BB609C05-542E-180C-42D2-B0D8D6F0FD80}"/>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Platshållare för innehåll 2">
            <a:extLst>
              <a:ext uri="{FF2B5EF4-FFF2-40B4-BE49-F238E27FC236}">
                <a16:creationId xmlns:a16="http://schemas.microsoft.com/office/drawing/2014/main" id="{1BAF0F2D-DBA1-5465-650C-ADF457C37C08}"/>
              </a:ext>
            </a:extLst>
          </p:cNvPr>
          <p:cNvSpPr>
            <a:spLocks noGrp="1"/>
          </p:cNvSpPr>
          <p:nvPr>
            <p:ph idx="1"/>
          </p:nvPr>
        </p:nvSpPr>
        <p:spPr>
          <a:xfrm>
            <a:off x="838200" y="1524000"/>
            <a:ext cx="10515600" cy="4425108"/>
          </a:xfrm>
        </p:spPr>
        <p:txBody>
          <a:bodyPr vert="horz" lIns="91440" tIns="45720" rIns="91440" bIns="45720" rtlCol="0" anchor="t">
            <a:noAutofit/>
          </a:bodyPr>
          <a:lstStyle/>
          <a:p>
            <a:pPr indent="-175895"/>
            <a:r>
              <a:rPr lang="sv-SE">
                <a:latin typeface="Noto Serif"/>
                <a:ea typeface="Noto Serif"/>
                <a:cs typeface="Noto Serif"/>
              </a:rPr>
              <a:t>Skapa en verksamhetsplan som omfattar hur du vill hantera:</a:t>
            </a:r>
          </a:p>
          <a:p>
            <a:pPr lvl="1">
              <a:spcBef>
                <a:spcPts val="0"/>
              </a:spcBef>
              <a:spcAft>
                <a:spcPts val="600"/>
              </a:spcAft>
            </a:pPr>
            <a:r>
              <a:rPr lang="sv-SE">
                <a:solidFill>
                  <a:srgbClr val="000000"/>
                </a:solidFill>
                <a:latin typeface="Noto Serif"/>
                <a:ea typeface="Noto Serif"/>
                <a:cs typeface="Noto Serif"/>
              </a:rPr>
              <a:t>Planeringsprocessen vid egna avverkningar</a:t>
            </a:r>
          </a:p>
          <a:p>
            <a:pPr lvl="1">
              <a:spcBef>
                <a:spcPts val="0"/>
              </a:spcBef>
              <a:spcAft>
                <a:spcPts val="600"/>
              </a:spcAft>
            </a:pPr>
            <a:r>
              <a:rPr lang="sv-SE">
                <a:solidFill>
                  <a:srgbClr val="000000"/>
                </a:solidFill>
                <a:latin typeface="Noto Serif"/>
                <a:ea typeface="Noto Serif"/>
                <a:cs typeface="Noto Serif"/>
              </a:rPr>
              <a:t>Inköp av Leveransvirke från såväl stora som små aktörer</a:t>
            </a:r>
            <a:endParaRPr lang="sv-SE"/>
          </a:p>
          <a:p>
            <a:pPr lvl="1">
              <a:spcBef>
                <a:spcPts val="0"/>
              </a:spcBef>
              <a:spcAft>
                <a:spcPts val="600"/>
              </a:spcAft>
            </a:pPr>
            <a:r>
              <a:rPr lang="sv-SE">
                <a:solidFill>
                  <a:srgbClr val="000000"/>
                </a:solidFill>
                <a:latin typeface="Noto Serif"/>
                <a:ea typeface="Noto Serif"/>
                <a:cs typeface="Noto Serif"/>
              </a:rPr>
              <a:t>Upphandling av centrala köp</a:t>
            </a:r>
          </a:p>
          <a:p>
            <a:pPr lvl="1">
              <a:spcBef>
                <a:spcPts val="0"/>
              </a:spcBef>
              <a:spcAft>
                <a:spcPts val="600"/>
              </a:spcAft>
            </a:pPr>
            <a:r>
              <a:rPr lang="sv-SE">
                <a:solidFill>
                  <a:srgbClr val="000000"/>
                </a:solidFill>
                <a:latin typeface="Noto Serif"/>
                <a:ea typeface="Noto Serif"/>
                <a:cs typeface="Noto Serif"/>
              </a:rPr>
              <a:t>Köp och försäljning av sammanblandad råvara tex sågverksflis och båt eller tågleveranser</a:t>
            </a:r>
            <a:endParaRPr lang="sv-SE"/>
          </a:p>
          <a:p>
            <a:pPr marL="5080" indent="0">
              <a:buNone/>
            </a:pPr>
            <a:r>
              <a:rPr lang="sv-SE"/>
              <a:t>Gemensamt för alla råvarukällor är att </a:t>
            </a:r>
            <a:r>
              <a:rPr lang="sv-SE" b="1"/>
              <a:t>se över de skrivna avtalen </a:t>
            </a:r>
            <a:r>
              <a:rPr lang="sv-SE"/>
              <a:t>så att Ni säkerställer att Ni och Era affärspartners har bra rutiner </a:t>
            </a:r>
            <a:r>
              <a:rPr lang="sv-SE" b="1"/>
              <a:t>som säkerställer lagens krav </a:t>
            </a:r>
            <a:r>
              <a:rPr lang="sv-SE"/>
              <a:t>såväl uppströms som nedströms i leveranskedjorna</a:t>
            </a:r>
          </a:p>
          <a:p>
            <a:pPr indent="-175895"/>
            <a:r>
              <a:rPr lang="sv-SE" b="1">
                <a:latin typeface="Noto Serif"/>
                <a:ea typeface="Noto Serif"/>
                <a:cs typeface="Noto Serif"/>
              </a:rPr>
              <a:t>Engagera verksamheten!</a:t>
            </a:r>
          </a:p>
          <a:p>
            <a:pPr lvl="1">
              <a:spcBef>
                <a:spcPts val="0"/>
              </a:spcBef>
              <a:spcAft>
                <a:spcPts val="600"/>
              </a:spcAft>
            </a:pPr>
            <a:r>
              <a:rPr lang="sv-SE">
                <a:solidFill>
                  <a:srgbClr val="000000"/>
                </a:solidFill>
                <a:latin typeface="Noto Serif"/>
                <a:ea typeface="Noto Serif"/>
                <a:cs typeface="Noto Serif"/>
              </a:rPr>
              <a:t>Virkesadministratörer</a:t>
            </a:r>
          </a:p>
          <a:p>
            <a:pPr lvl="1">
              <a:spcBef>
                <a:spcPts val="0"/>
              </a:spcBef>
              <a:spcAft>
                <a:spcPts val="600"/>
              </a:spcAft>
            </a:pPr>
            <a:r>
              <a:rPr lang="sv-SE">
                <a:solidFill>
                  <a:srgbClr val="000000"/>
                </a:solidFill>
                <a:latin typeface="Noto Serif"/>
                <a:ea typeface="Noto Serif"/>
                <a:cs typeface="Noto Serif"/>
              </a:rPr>
              <a:t>Avtalsansvariga både på central och lokal nivå (köp/sälj)</a:t>
            </a:r>
          </a:p>
          <a:p>
            <a:pPr lvl="1">
              <a:spcBef>
                <a:spcPts val="0"/>
              </a:spcBef>
              <a:spcAft>
                <a:spcPts val="600"/>
              </a:spcAft>
            </a:pPr>
            <a:r>
              <a:rPr lang="sv-SE">
                <a:solidFill>
                  <a:srgbClr val="000000"/>
                </a:solidFill>
                <a:latin typeface="Noto Serif"/>
                <a:ea typeface="Noto Serif"/>
                <a:cs typeface="Noto Serif"/>
              </a:rPr>
              <a:t>Produktionsledare</a:t>
            </a:r>
          </a:p>
          <a:p>
            <a:pPr lvl="1">
              <a:spcBef>
                <a:spcPts val="0"/>
              </a:spcBef>
              <a:spcAft>
                <a:spcPts val="600"/>
              </a:spcAft>
            </a:pPr>
            <a:r>
              <a:rPr lang="sv-SE">
                <a:solidFill>
                  <a:srgbClr val="000000"/>
                </a:solidFill>
                <a:latin typeface="Noto Serif"/>
                <a:ea typeface="Noto Serif"/>
                <a:cs typeface="Noto Serif"/>
              </a:rPr>
              <a:t>Transportledare</a:t>
            </a:r>
          </a:p>
        </p:txBody>
      </p:sp>
      <p:sp>
        <p:nvSpPr>
          <p:cNvPr id="2" name="Rubrik 1">
            <a:extLst>
              <a:ext uri="{FF2B5EF4-FFF2-40B4-BE49-F238E27FC236}">
                <a16:creationId xmlns:a16="http://schemas.microsoft.com/office/drawing/2014/main" id="{14BF2B7D-9E5A-FE05-1D13-620EEB9432FB}"/>
              </a:ext>
            </a:extLst>
          </p:cNvPr>
          <p:cNvSpPr>
            <a:spLocks noGrp="1"/>
          </p:cNvSpPr>
          <p:nvPr>
            <p:ph type="title"/>
          </p:nvPr>
        </p:nvSpPr>
        <p:spPr/>
        <p:txBody>
          <a:bodyPr vert="horz"/>
          <a:lstStyle/>
          <a:p>
            <a:r>
              <a:rPr lang="sv-SE"/>
              <a:t>GUIDE – VERKSAMHETSPLANERING </a:t>
            </a:r>
          </a:p>
        </p:txBody>
      </p:sp>
    </p:spTree>
    <p:extLst>
      <p:ext uri="{BB962C8B-B14F-4D97-AF65-F5344CB8AC3E}">
        <p14:creationId xmlns:p14="http://schemas.microsoft.com/office/powerpoint/2010/main" val="286454469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Platshållare för innehåll 3">
            <a:extLst>
              <a:ext uri="{FF2B5EF4-FFF2-40B4-BE49-F238E27FC236}">
                <a16:creationId xmlns:a16="http://schemas.microsoft.com/office/drawing/2014/main" id="{EFF5CB9D-049E-3E1D-2030-FD0E6B411432}"/>
              </a:ext>
            </a:extLst>
          </p:cNvPr>
          <p:cNvGraphicFramePr>
            <a:graphicFrameLocks noGrp="1"/>
          </p:cNvGraphicFramePr>
          <p:nvPr>
            <p:ph idx="1"/>
            <p:extLst>
              <p:ext uri="{D42A27DB-BD31-4B8C-83A1-F6EECF244321}">
                <p14:modId xmlns:p14="http://schemas.microsoft.com/office/powerpoint/2010/main" val="2079340278"/>
              </p:ext>
            </p:extLst>
          </p:nvPr>
        </p:nvGraphicFramePr>
        <p:xfrm>
          <a:off x="838200" y="1825625"/>
          <a:ext cx="10515600" cy="412273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3" name="Rubrik 2">
            <a:extLst>
              <a:ext uri="{FF2B5EF4-FFF2-40B4-BE49-F238E27FC236}">
                <a16:creationId xmlns:a16="http://schemas.microsoft.com/office/drawing/2014/main" id="{977EC1CD-F728-0CC2-3F74-EF8EADD5161B}"/>
              </a:ext>
            </a:extLst>
          </p:cNvPr>
          <p:cNvSpPr>
            <a:spLocks noGrp="1"/>
          </p:cNvSpPr>
          <p:nvPr>
            <p:ph type="title"/>
          </p:nvPr>
        </p:nvSpPr>
        <p:spPr/>
        <p:txBody>
          <a:bodyPr/>
          <a:lstStyle/>
          <a:p>
            <a:r>
              <a:rPr lang="sv-SE" spc="0"/>
              <a:t>KONKRETA ÅTGÄRDER HOS FÖRETAGEN </a:t>
            </a:r>
            <a:endParaRPr lang="sv-SE"/>
          </a:p>
        </p:txBody>
      </p:sp>
    </p:spTree>
    <p:extLst>
      <p:ext uri="{BB962C8B-B14F-4D97-AF65-F5344CB8AC3E}">
        <p14:creationId xmlns:p14="http://schemas.microsoft.com/office/powerpoint/2010/main" val="325408929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0445F-350A-1497-963E-0B4C6FD8F8A3}"/>
            </a:ext>
          </a:extLst>
        </p:cNvPr>
        <p:cNvGrpSpPr/>
        <p:nvPr/>
      </p:nvGrpSpPr>
      <p:grpSpPr>
        <a:xfrm>
          <a:off x="0" y="0"/>
          <a:ext cx="0" cy="0"/>
          <a:chOff x="0" y="0"/>
          <a:chExt cx="0" cy="0"/>
        </a:xfrm>
      </p:grpSpPr>
      <p:sp>
        <p:nvSpPr>
          <p:cNvPr id="7" name="Platshållare för innehåll 6">
            <a:extLst>
              <a:ext uri="{FF2B5EF4-FFF2-40B4-BE49-F238E27FC236}">
                <a16:creationId xmlns:a16="http://schemas.microsoft.com/office/drawing/2014/main" id="{17493462-4999-4255-2F2A-726913C5371B}"/>
              </a:ext>
            </a:extLst>
          </p:cNvPr>
          <p:cNvSpPr>
            <a:spLocks noGrp="1"/>
          </p:cNvSpPr>
          <p:nvPr>
            <p:ph idx="1"/>
          </p:nvPr>
        </p:nvSpPr>
        <p:spPr>
          <a:xfrm>
            <a:off x="838200" y="1433117"/>
            <a:ext cx="8696093" cy="5032374"/>
          </a:xfrm>
        </p:spPr>
        <p:txBody>
          <a:bodyPr vert="horz" lIns="91440" tIns="45720" rIns="91440" bIns="45720" rtlCol="0" anchor="t">
            <a:noAutofit/>
          </a:bodyPr>
          <a:lstStyle/>
          <a:p>
            <a:pPr indent="-175895">
              <a:spcBef>
                <a:spcPts val="600"/>
              </a:spcBef>
              <a:spcAft>
                <a:spcPts val="600"/>
              </a:spcAft>
            </a:pPr>
            <a:r>
              <a:rPr lang="sv-SE" sz="1400"/>
              <a:t>Vad som krävs i form av dokumentation, arbetsprocesser m.m. för att en verksamhetsutövare ska anses ha tillämpat tillbörlig aktsamhet behöver förtydligas. </a:t>
            </a:r>
            <a:r>
              <a:rPr lang="sv-SE" sz="1400" b="1"/>
              <a:t>På en rak fråga säger Skogsstyrelsen att förutom att göra anmälan till EU och dela med sig av referens och verifikationsnummer och ev. koordinater till köparen nedströms finns inga konkreta nya krav ännu.</a:t>
            </a:r>
            <a:endParaRPr lang="sv-SE" b="1"/>
          </a:p>
          <a:p>
            <a:pPr indent="-175895">
              <a:spcBef>
                <a:spcPts val="600"/>
              </a:spcBef>
              <a:spcAft>
                <a:spcPts val="600"/>
              </a:spcAft>
            </a:pPr>
            <a:r>
              <a:rPr lang="sv-SE" sz="1400">
                <a:latin typeface="Noto Serif"/>
                <a:ea typeface="Noto Serif"/>
                <a:cs typeface="Noto Serif"/>
              </a:rPr>
              <a:t>Vilken information som måste skickas vidare till handlare nedströms affärsledskedjan för att de i sin tur ska kunna uppfylla kraven i avskogningsförordningen är fortfarande osäkert. </a:t>
            </a:r>
            <a:endParaRPr lang="sv-SE" sz="1400"/>
          </a:p>
          <a:p>
            <a:pPr indent="-175895">
              <a:spcBef>
                <a:spcPts val="600"/>
              </a:spcBef>
              <a:spcAft>
                <a:spcPts val="600"/>
              </a:spcAft>
            </a:pPr>
            <a:r>
              <a:rPr lang="sv-SE" sz="1400"/>
              <a:t>Hur får information om geografiskt ursprung för en sammanblandad råvara hanteras? </a:t>
            </a:r>
            <a:r>
              <a:rPr lang="sv-SE" sz="1400" b="1"/>
              <a:t>Vi förväntar oss att det inom kort kommer ett förtydligande om vilken modell som får tillämpas.</a:t>
            </a:r>
          </a:p>
          <a:p>
            <a:pPr indent="-175895">
              <a:spcBef>
                <a:spcPts val="600"/>
              </a:spcBef>
              <a:spcAft>
                <a:spcPts val="600"/>
              </a:spcAft>
            </a:pPr>
            <a:r>
              <a:rPr lang="sv-SE" sz="1400"/>
              <a:t>Sanktionernas tillämpning i praktiken och möjligheten att lyfta ur volym ur flödet om råvara kommit in i flödet som inte uppfyller kraven i förordningen.</a:t>
            </a:r>
          </a:p>
          <a:p>
            <a:pPr marL="4445" indent="0">
              <a:buNone/>
            </a:pPr>
            <a:endParaRPr lang="sv-SE"/>
          </a:p>
          <a:p>
            <a:pPr indent="-175895"/>
            <a:endParaRPr lang="sv-SE"/>
          </a:p>
          <a:p>
            <a:pPr marL="0" indent="0">
              <a:buNone/>
            </a:pPr>
            <a:r>
              <a:rPr lang="sv-SE" sz="1600"/>
              <a:t>	</a:t>
            </a:r>
            <a:endParaRPr lang="sv-SE"/>
          </a:p>
        </p:txBody>
      </p:sp>
      <p:sp>
        <p:nvSpPr>
          <p:cNvPr id="6" name="Rubrik 5">
            <a:extLst>
              <a:ext uri="{FF2B5EF4-FFF2-40B4-BE49-F238E27FC236}">
                <a16:creationId xmlns:a16="http://schemas.microsoft.com/office/drawing/2014/main" id="{3B0C3E0F-7CAE-15E1-5D78-B8DA30569244}"/>
              </a:ext>
            </a:extLst>
          </p:cNvPr>
          <p:cNvSpPr>
            <a:spLocks noGrp="1"/>
          </p:cNvSpPr>
          <p:nvPr>
            <p:ph type="title"/>
          </p:nvPr>
        </p:nvSpPr>
        <p:spPr/>
        <p:txBody>
          <a:bodyPr>
            <a:noAutofit/>
          </a:bodyPr>
          <a:lstStyle/>
          <a:p>
            <a:r>
              <a:rPr lang="sv-SE" spc="0"/>
              <a:t>OBESVARADE FRÅGOR OCH OSÄKERHETER</a:t>
            </a:r>
          </a:p>
        </p:txBody>
      </p:sp>
    </p:spTree>
    <p:extLst>
      <p:ext uri="{BB962C8B-B14F-4D97-AF65-F5344CB8AC3E}">
        <p14:creationId xmlns:p14="http://schemas.microsoft.com/office/powerpoint/2010/main" val="1658098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630445F-350A-1497-963E-0B4C6FD8F8A3}"/>
            </a:ext>
          </a:extLst>
        </p:cNvPr>
        <p:cNvGrpSpPr/>
        <p:nvPr/>
      </p:nvGrpSpPr>
      <p:grpSpPr>
        <a:xfrm>
          <a:off x="0" y="0"/>
          <a:ext cx="0" cy="0"/>
          <a:chOff x="0" y="0"/>
          <a:chExt cx="0" cy="0"/>
        </a:xfrm>
      </p:grpSpPr>
      <p:sp>
        <p:nvSpPr>
          <p:cNvPr id="7" name="Platshållare för innehåll 6">
            <a:extLst>
              <a:ext uri="{FF2B5EF4-FFF2-40B4-BE49-F238E27FC236}">
                <a16:creationId xmlns:a16="http://schemas.microsoft.com/office/drawing/2014/main" id="{17493462-4999-4255-2F2A-726913C5371B}"/>
              </a:ext>
            </a:extLst>
          </p:cNvPr>
          <p:cNvSpPr>
            <a:spLocks noGrp="1"/>
          </p:cNvSpPr>
          <p:nvPr>
            <p:ph idx="1"/>
          </p:nvPr>
        </p:nvSpPr>
        <p:spPr>
          <a:xfrm>
            <a:off x="838200" y="1433117"/>
            <a:ext cx="8696093" cy="5032374"/>
          </a:xfrm>
        </p:spPr>
        <p:txBody>
          <a:bodyPr vert="horz" lIns="91440" tIns="45720" rIns="91440" bIns="45720" rtlCol="0" anchor="t">
            <a:noAutofit/>
          </a:bodyPr>
          <a:lstStyle/>
          <a:p>
            <a:pPr indent="-175895">
              <a:spcBef>
                <a:spcPts val="600"/>
              </a:spcBef>
              <a:spcAft>
                <a:spcPts val="600"/>
              </a:spcAft>
            </a:pPr>
            <a:r>
              <a:rPr lang="sv-SE" sz="1400"/>
              <a:t>En ny FAQ och tillämpningsanvisning skulle ha publicerats i juli i år. Vi hade hoppats på att dessa skulle svara på våra utestående frågor. Det sägs att en ny FAQ ska komma i slutet av september.</a:t>
            </a:r>
          </a:p>
          <a:p>
            <a:pPr indent="-175895">
              <a:spcBef>
                <a:spcPts val="600"/>
              </a:spcBef>
              <a:spcAft>
                <a:spcPts val="600"/>
              </a:spcAft>
            </a:pPr>
            <a:r>
              <a:rPr lang="sv-SE" sz="1400"/>
              <a:t>Många tunga instanser vill att förordningens implementationstidpunkt skjuts fram 2 år och att den tiden används till att förtydliga hur förordningen ska implementeras men också för att ge företagen mer tid att anpassa sig.</a:t>
            </a:r>
          </a:p>
          <a:p>
            <a:pPr indent="-175895">
              <a:spcBef>
                <a:spcPts val="600"/>
              </a:spcBef>
              <a:spcAft>
                <a:spcPts val="600"/>
              </a:spcAft>
            </a:pPr>
            <a:r>
              <a:rPr lang="sv-SE" sz="1400"/>
              <a:t>Ingenting pekar på att det blir en senareläggning men om så skulle bli fallet kommer mest troligt den informationen mycket sent – vi kan inte vänta till dess.</a:t>
            </a:r>
            <a:endParaRPr lang="sv-SE"/>
          </a:p>
          <a:p>
            <a:pPr marL="4445" indent="0">
              <a:buNone/>
            </a:pPr>
            <a:endParaRPr lang="sv-SE"/>
          </a:p>
          <a:p>
            <a:pPr indent="-175895"/>
            <a:endParaRPr lang="sv-SE"/>
          </a:p>
          <a:p>
            <a:pPr marL="0" indent="0">
              <a:buNone/>
            </a:pPr>
            <a:r>
              <a:rPr lang="sv-SE" sz="1600"/>
              <a:t>	</a:t>
            </a:r>
            <a:endParaRPr lang="sv-SE"/>
          </a:p>
        </p:txBody>
      </p:sp>
      <p:sp>
        <p:nvSpPr>
          <p:cNvPr id="6" name="Rubrik 5">
            <a:extLst>
              <a:ext uri="{FF2B5EF4-FFF2-40B4-BE49-F238E27FC236}">
                <a16:creationId xmlns:a16="http://schemas.microsoft.com/office/drawing/2014/main" id="{3B0C3E0F-7CAE-15E1-5D78-B8DA30569244}"/>
              </a:ext>
            </a:extLst>
          </p:cNvPr>
          <p:cNvSpPr>
            <a:spLocks noGrp="1"/>
          </p:cNvSpPr>
          <p:nvPr>
            <p:ph type="title"/>
          </p:nvPr>
        </p:nvSpPr>
        <p:spPr/>
        <p:txBody>
          <a:bodyPr>
            <a:noAutofit/>
          </a:bodyPr>
          <a:lstStyle/>
          <a:p>
            <a:r>
              <a:rPr lang="sv-SE" spc="0"/>
              <a:t>AKTUELLT LÄGE I AUGUSTI 2024</a:t>
            </a:r>
          </a:p>
        </p:txBody>
      </p:sp>
    </p:spTree>
    <p:extLst>
      <p:ext uri="{BB962C8B-B14F-4D97-AF65-F5344CB8AC3E}">
        <p14:creationId xmlns:p14="http://schemas.microsoft.com/office/powerpoint/2010/main" val="3071745133"/>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innehåll 1">
            <a:extLst>
              <a:ext uri="{FF2B5EF4-FFF2-40B4-BE49-F238E27FC236}">
                <a16:creationId xmlns:a16="http://schemas.microsoft.com/office/drawing/2014/main" id="{0A7D2EB5-B555-2185-8449-5D8C0FD43465}"/>
              </a:ext>
            </a:extLst>
          </p:cNvPr>
          <p:cNvSpPr>
            <a:spLocks noGrp="1"/>
          </p:cNvSpPr>
          <p:nvPr>
            <p:ph idx="1"/>
          </p:nvPr>
        </p:nvSpPr>
        <p:spPr/>
        <p:txBody>
          <a:bodyPr/>
          <a:lstStyle/>
          <a:p>
            <a:r>
              <a:rPr lang="sv-SE"/>
              <a:t>Biometria har hjälpt till att utreda hur avskogningsförordningens krav kan implementeras med de förutsättningar virkeshandeln har i Sverige och skapa förståelse för detta hos tillsynsmyndigheten.</a:t>
            </a:r>
          </a:p>
          <a:p>
            <a:r>
              <a:rPr lang="sv-SE"/>
              <a:t>Biometria tillhandahåller en liten men viktig pusselbit i en större helhet</a:t>
            </a:r>
          </a:p>
          <a:p>
            <a:r>
              <a:rPr lang="sv-SE"/>
              <a:t>Varje företag har alltså efter detta </a:t>
            </a:r>
            <a:r>
              <a:rPr lang="sv-SE" err="1"/>
              <a:t>webinarium</a:t>
            </a:r>
            <a:r>
              <a:rPr lang="sv-SE"/>
              <a:t> ett antal frågor som ska hanteras och resurser behöver sättas av för att göra det</a:t>
            </a:r>
          </a:p>
        </p:txBody>
      </p:sp>
      <p:sp>
        <p:nvSpPr>
          <p:cNvPr id="3" name="Rubrik 2">
            <a:extLst>
              <a:ext uri="{FF2B5EF4-FFF2-40B4-BE49-F238E27FC236}">
                <a16:creationId xmlns:a16="http://schemas.microsoft.com/office/drawing/2014/main" id="{32D8A03F-67A2-B1B8-C6C6-ADC4F8823CC6}"/>
              </a:ext>
            </a:extLst>
          </p:cNvPr>
          <p:cNvSpPr>
            <a:spLocks noGrp="1"/>
          </p:cNvSpPr>
          <p:nvPr>
            <p:ph type="title"/>
          </p:nvPr>
        </p:nvSpPr>
        <p:spPr/>
        <p:txBody>
          <a:bodyPr/>
          <a:lstStyle/>
          <a:p>
            <a:r>
              <a:rPr lang="sv-SE"/>
              <a:t>VI PÅMINNER OM BIOMETRIAS ROLL I HELHETEN</a:t>
            </a:r>
          </a:p>
        </p:txBody>
      </p:sp>
    </p:spTree>
    <p:extLst>
      <p:ext uri="{BB962C8B-B14F-4D97-AF65-F5344CB8AC3E}">
        <p14:creationId xmlns:p14="http://schemas.microsoft.com/office/powerpoint/2010/main" val="362980629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92AA227A-452F-A493-A92B-25CEB6EF35DE}"/>
              </a:ext>
            </a:extLst>
          </p:cNvPr>
          <p:cNvSpPr>
            <a:spLocks noGrp="1"/>
          </p:cNvSpPr>
          <p:nvPr>
            <p:ph type="title"/>
          </p:nvPr>
        </p:nvSpPr>
        <p:spPr>
          <a:xfrm>
            <a:off x="838199" y="2595369"/>
            <a:ext cx="9246899" cy="2423819"/>
          </a:xfrm>
        </p:spPr>
        <p:txBody>
          <a:bodyPr>
            <a:normAutofit fontScale="90000"/>
          </a:bodyPr>
          <a:lstStyle/>
          <a:p>
            <a:r>
              <a:rPr lang="sv-SE" b="0" spc="0"/>
              <a:t>HÄR FÖLJER ETT ANTAL BILAGOR SOM FÖRKLARAR, DETALJERAR ELLER FÖRDJUPAR TIDIGARE BILDER FÖR DEN SOM ÄR MER VETGIRIG</a:t>
            </a:r>
          </a:p>
        </p:txBody>
      </p:sp>
    </p:spTree>
    <p:extLst>
      <p:ext uri="{BB962C8B-B14F-4D97-AF65-F5344CB8AC3E}">
        <p14:creationId xmlns:p14="http://schemas.microsoft.com/office/powerpoint/2010/main" val="206216765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Platshållare för innehåll 3">
            <a:extLst>
              <a:ext uri="{FF2B5EF4-FFF2-40B4-BE49-F238E27FC236}">
                <a16:creationId xmlns:a16="http://schemas.microsoft.com/office/drawing/2014/main" id="{A2A21617-1AD2-DE6B-C2E7-592E7983C769}"/>
              </a:ext>
            </a:extLst>
          </p:cNvPr>
          <p:cNvSpPr>
            <a:spLocks noGrp="1"/>
          </p:cNvSpPr>
          <p:nvPr>
            <p:ph idx="1"/>
          </p:nvPr>
        </p:nvSpPr>
        <p:spPr/>
        <p:txBody>
          <a:bodyPr>
            <a:normAutofit lnSpcReduction="10000"/>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600" b="0" i="0" err="1">
                <a:solidFill>
                  <a:srgbClr val="111111"/>
                </a:solidFill>
                <a:effectLst/>
              </a:rPr>
              <a:t>Traces</a:t>
            </a:r>
            <a:r>
              <a:rPr lang="sv-SE" sz="1600" b="0" i="0">
                <a:solidFill>
                  <a:srgbClr val="111111"/>
                </a:solidFill>
                <a:effectLst/>
              </a:rPr>
              <a:t> = </a:t>
            </a:r>
            <a:r>
              <a:rPr lang="sv-SE" sz="1600" b="1" i="0">
                <a:solidFill>
                  <a:srgbClr val="111111"/>
                </a:solidFill>
                <a:effectLst/>
              </a:rPr>
              <a:t>EU:s gemensamma webbaserade system</a:t>
            </a:r>
            <a:r>
              <a:rPr lang="sv-SE" sz="1600" b="0" i="0">
                <a:solidFill>
                  <a:srgbClr val="111111"/>
                </a:solidFill>
                <a:effectLst/>
              </a:rPr>
              <a:t> som byggts för att spåra och övervaka sändningar av djur, foder och produkter från djur mellan länder och som nu även kommer att användas för skogen och skogsindustri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highlight>
                <a:srgbClr val="FFFF00"/>
              </a:highlight>
              <a:uLnTx/>
              <a:uFillTx/>
              <a:ea typeface="Noto Serif" panose="02020600060500020200" pitchFamily="18" charset="0"/>
              <a:cs typeface="Noto Serif" panose="02020600060500020200"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DDS = </a:t>
            </a:r>
            <a:r>
              <a:rPr kumimoji="0" lang="sv-SE" sz="1600" b="0" i="0" u="none" strike="noStrike" kern="1200" cap="none" spc="0" normalizeH="0" baseline="0" noProof="0" err="1">
                <a:ln>
                  <a:noFill/>
                </a:ln>
                <a:solidFill>
                  <a:srgbClr val="000000"/>
                </a:solidFill>
                <a:effectLst/>
                <a:uLnTx/>
                <a:uFillTx/>
                <a:ea typeface="Noto Serif" panose="02020600060500020200" pitchFamily="18" charset="0"/>
                <a:cs typeface="Noto Serif" panose="02020600060500020200" pitchFamily="18" charset="0"/>
              </a:rPr>
              <a:t>Due</a:t>
            </a: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 </a:t>
            </a:r>
            <a:r>
              <a:rPr kumimoji="0" lang="sv-SE" sz="1600" b="0" i="0" u="none" strike="noStrike" kern="1200" cap="none" spc="0" normalizeH="0" baseline="0" noProof="0" err="1">
                <a:ln>
                  <a:noFill/>
                </a:ln>
                <a:solidFill>
                  <a:srgbClr val="000000"/>
                </a:solidFill>
                <a:effectLst/>
                <a:uLnTx/>
                <a:uFillTx/>
                <a:ea typeface="Noto Serif" panose="02020600060500020200" pitchFamily="18" charset="0"/>
                <a:cs typeface="Noto Serif" panose="02020600060500020200" pitchFamily="18" charset="0"/>
              </a:rPr>
              <a:t>Diligence</a:t>
            </a: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 Statement – intyg om tillbörlig aktsamhet dvs att verksamhetsutövaren eller handlaren intygar att råvaran inte gett upphov till avskogning eller degenerering av skogstillstånde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Degenerering innebär att primärskog utan tydlig påverkan av människan eller naturligt föryngrad skog inte får omställas till ett plantageskogsbruk.</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Utsläpp på den inre marknaden = tillhandahållande för första gången av en relevant råvara eller relevant produkt på unionsmarknaden (kan avse både import och produktion).</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Förordningen gäller för stora företag från december 2024.</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Stora företag betyder gränsdragningen mot mellanstora företag (</a:t>
            </a:r>
            <a:r>
              <a:rPr kumimoji="0" lang="en-US" sz="1600" b="1" i="0" u="none" strike="noStrike" kern="1200" cap="none" spc="0" normalizeH="0" baseline="0" noProof="0">
                <a:ln>
                  <a:noFill/>
                </a:ln>
                <a:solidFill>
                  <a:srgbClr val="767676"/>
                </a:solidFill>
                <a:effectLst/>
                <a:uLnTx/>
                <a:uFillTx/>
                <a:ea typeface="Noto Serif" panose="02020600060500020200" pitchFamily="18" charset="0"/>
                <a:cs typeface="Noto Serif" panose="02020600060500020200" pitchFamily="18" charset="0"/>
              </a:rPr>
              <a:t>Directive 2013/34/EU</a:t>
            </a:r>
            <a:r>
              <a:rPr kumimoji="0" lang="en-US" sz="1600" b="0" i="0" u="none" strike="noStrike" kern="1200" cap="none" spc="0" normalizeH="0" baseline="0" noProof="0">
                <a:ln>
                  <a:noFill/>
                </a:ln>
                <a:solidFill>
                  <a:srgbClr val="71777D"/>
                </a:solidFill>
                <a:effectLst/>
                <a:uLnTx/>
                <a:uFillTx/>
                <a:ea typeface="Noto Serif" panose="02020600060500020200" pitchFamily="18" charset="0"/>
                <a:cs typeface="Noto Serif" panose="02020600060500020200" pitchFamily="18" charset="0"/>
              </a:rPr>
              <a:t> of th</a:t>
            </a:r>
            <a:r>
              <a:rPr kumimoji="0" lang="en-US" sz="1600" b="1" i="0" u="none" strike="noStrike" kern="1200" cap="none" spc="0" normalizeH="0" baseline="0" noProof="0">
                <a:ln>
                  <a:noFill/>
                </a:ln>
                <a:solidFill>
                  <a:srgbClr val="767676"/>
                </a:solidFill>
                <a:effectLst/>
                <a:uLnTx/>
                <a:uFillTx/>
                <a:ea typeface="Noto Serif" panose="02020600060500020200" pitchFamily="18" charset="0"/>
                <a:cs typeface="Noto Serif" panose="02020600060500020200" pitchFamily="18" charset="0"/>
              </a:rPr>
              <a:t>e European</a:t>
            </a:r>
            <a:r>
              <a:rPr kumimoji="0" lang="en-US" sz="1600" b="0" i="0" u="none" strike="noStrike" kern="1200" cap="none" spc="0" normalizeH="0" baseline="0" noProof="0">
                <a:ln>
                  <a:noFill/>
                </a:ln>
                <a:solidFill>
                  <a:srgbClr val="71777D"/>
                </a:solidFill>
                <a:effectLst/>
                <a:uLnTx/>
                <a:uFillTx/>
                <a:ea typeface="Noto Serif" panose="02020600060500020200" pitchFamily="18" charset="0"/>
                <a:cs typeface="Noto Serif" panose="02020600060500020200" pitchFamily="18" charset="0"/>
              </a:rPr>
              <a:t> Parliament and of the Council of 26 J</a:t>
            </a:r>
            <a:r>
              <a:rPr kumimoji="0" lang="en-US" sz="1600" b="1" i="0" u="none" strike="noStrike" kern="1200" cap="none" spc="0" normalizeH="0" baseline="0" noProof="0">
                <a:ln>
                  <a:noFill/>
                </a:ln>
                <a:solidFill>
                  <a:srgbClr val="767676"/>
                </a:solidFill>
                <a:effectLst/>
                <a:uLnTx/>
                <a:uFillTx/>
                <a:ea typeface="Noto Serif" panose="02020600060500020200" pitchFamily="18" charset="0"/>
                <a:cs typeface="Noto Serif" panose="02020600060500020200" pitchFamily="18" charset="0"/>
              </a:rPr>
              <a:t>une 2013</a:t>
            </a:r>
            <a:r>
              <a:rPr kumimoji="0" lang="sv-SE" sz="1600" b="0" i="0" u="none" strike="noStrike" kern="1200" cap="none" spc="0" normalizeH="0" baseline="0" noProof="0">
                <a:ln>
                  <a:noFill/>
                </a:ln>
                <a:solidFill>
                  <a:srgbClr val="000000"/>
                </a:solidFill>
                <a:effectLst/>
                <a:uLnTx/>
                <a:uFillTx/>
                <a:ea typeface="Noto Serif" panose="02020600060500020200" pitchFamily="18" charset="0"/>
                <a:cs typeface="Noto Serif" panose="02020600060500020200" pitchFamily="18" charset="0"/>
              </a:rPr>
              <a:t>) vilket går vid en nettoomsättning på mer än € 40 000 000 och 250 anställda. </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sv-SE" sz="1600" b="0" i="0" u="none" strike="noStrike" kern="1200" cap="none" spc="0" normalizeH="0" baseline="0" noProof="0">
              <a:ln>
                <a:noFill/>
              </a:ln>
              <a:solidFill>
                <a:srgbClr val="000000"/>
              </a:solidFill>
              <a:effectLst/>
              <a:uLnTx/>
              <a:uFillTx/>
              <a:ea typeface="+mn-ea"/>
              <a:cs typeface="+mn-cs"/>
            </a:endParaRPr>
          </a:p>
          <a:p>
            <a:endParaRPr lang="sv-SE"/>
          </a:p>
        </p:txBody>
      </p:sp>
      <p:sp>
        <p:nvSpPr>
          <p:cNvPr id="3" name="Rubrik 2">
            <a:extLst>
              <a:ext uri="{FF2B5EF4-FFF2-40B4-BE49-F238E27FC236}">
                <a16:creationId xmlns:a16="http://schemas.microsoft.com/office/drawing/2014/main" id="{F9312188-29C9-3BCD-63D0-AC7170E73C82}"/>
              </a:ext>
            </a:extLst>
          </p:cNvPr>
          <p:cNvSpPr>
            <a:spLocks noGrp="1"/>
          </p:cNvSpPr>
          <p:nvPr>
            <p:ph type="title"/>
          </p:nvPr>
        </p:nvSpPr>
        <p:spPr>
          <a:xfrm>
            <a:off x="838200" y="871148"/>
            <a:ext cx="10515600" cy="895285"/>
          </a:xfrm>
        </p:spPr>
        <p:txBody>
          <a:bodyPr/>
          <a:lstStyle/>
          <a:p>
            <a:r>
              <a:rPr lang="sv-SE"/>
              <a:t>WIKI – FÖRKLARING AV VISSA ORD</a:t>
            </a:r>
          </a:p>
        </p:txBody>
      </p:sp>
    </p:spTree>
    <p:extLst>
      <p:ext uri="{BB962C8B-B14F-4D97-AF65-F5344CB8AC3E}">
        <p14:creationId xmlns:p14="http://schemas.microsoft.com/office/powerpoint/2010/main" val="114476114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4A5EE5C2-39EE-177B-946A-7D7638BB3347}"/>
              </a:ext>
            </a:extLst>
          </p:cNvPr>
          <p:cNvSpPr>
            <a:spLocks noGrp="1"/>
          </p:cNvSpPr>
          <p:nvPr>
            <p:ph type="title"/>
          </p:nvPr>
        </p:nvSpPr>
        <p:spPr>
          <a:xfrm>
            <a:off x="838200" y="441440"/>
            <a:ext cx="10515600" cy="895285"/>
          </a:xfrm>
        </p:spPr>
        <p:txBody>
          <a:bodyPr>
            <a:normAutofit fontScale="90000"/>
          </a:bodyPr>
          <a:lstStyle/>
          <a:p>
            <a:r>
              <a:rPr lang="sv-SE"/>
              <a:t>BIOMETRIA HAR SEDAN I NOVEMBER 2023 HAFT EN ARBETSGRUPP</a:t>
            </a:r>
            <a:br>
              <a:rPr lang="sv-SE"/>
            </a:br>
            <a:r>
              <a:rPr lang="sv-SE"/>
              <a:t>MED MÅLET ATT HITTA EN MÖJLIG TILLÄMPNING FÖR SVENSK SKOGSINDUSTRI:</a:t>
            </a:r>
          </a:p>
        </p:txBody>
      </p:sp>
      <p:sp>
        <p:nvSpPr>
          <p:cNvPr id="3" name="Platshållare för innehåll 2">
            <a:extLst>
              <a:ext uri="{FF2B5EF4-FFF2-40B4-BE49-F238E27FC236}">
                <a16:creationId xmlns:a16="http://schemas.microsoft.com/office/drawing/2014/main" id="{6D31B094-1267-E4EE-A27A-A78311439025}"/>
              </a:ext>
            </a:extLst>
          </p:cNvPr>
          <p:cNvSpPr>
            <a:spLocks noGrp="1"/>
          </p:cNvSpPr>
          <p:nvPr>
            <p:ph idx="1"/>
          </p:nvPr>
        </p:nvSpPr>
        <p:spPr/>
        <p:txBody>
          <a:bodyPr/>
          <a:lstStyle/>
          <a:p>
            <a:pPr marL="4762" indent="0">
              <a:spcBef>
                <a:spcPts val="0"/>
              </a:spcBef>
              <a:buNone/>
            </a:pPr>
            <a:r>
              <a:rPr lang="sv-SE" b="1"/>
              <a:t>Arbetsgruppen tillsattes av </a:t>
            </a:r>
            <a:r>
              <a:rPr lang="sv-SE" b="1" err="1"/>
              <a:t>Biometrias</a:t>
            </a:r>
            <a:r>
              <a:rPr lang="sv-SE" b="1"/>
              <a:t> styrelse i november 2023</a:t>
            </a:r>
          </a:p>
          <a:p>
            <a:pPr>
              <a:spcBef>
                <a:spcPts val="0"/>
              </a:spcBef>
            </a:pPr>
            <a:r>
              <a:rPr lang="sv-SE" b="1"/>
              <a:t>Örjan Vorrei </a:t>
            </a:r>
            <a:r>
              <a:rPr lang="sv-SE"/>
              <a:t>– Sydved</a:t>
            </a:r>
          </a:p>
          <a:p>
            <a:pPr>
              <a:spcBef>
                <a:spcPts val="0"/>
              </a:spcBef>
            </a:pPr>
            <a:r>
              <a:rPr lang="sv-SE" b="1"/>
              <a:t>Roger Andersson </a:t>
            </a:r>
            <a:r>
              <a:rPr lang="sv-SE"/>
              <a:t>– Södra</a:t>
            </a:r>
          </a:p>
          <a:p>
            <a:pPr>
              <a:spcBef>
                <a:spcPts val="0"/>
              </a:spcBef>
            </a:pPr>
            <a:r>
              <a:rPr lang="sv-SE" b="1"/>
              <a:t>Henrik Sakari </a:t>
            </a:r>
            <a:r>
              <a:rPr lang="sv-SE"/>
              <a:t>– SCA</a:t>
            </a:r>
          </a:p>
          <a:p>
            <a:pPr>
              <a:spcBef>
                <a:spcPts val="0"/>
              </a:spcBef>
            </a:pPr>
            <a:r>
              <a:rPr lang="sv-SE" b="1"/>
              <a:t>Lennart Stenquist </a:t>
            </a:r>
            <a:r>
              <a:rPr lang="sv-SE"/>
              <a:t>– Stora Enso</a:t>
            </a:r>
          </a:p>
          <a:p>
            <a:pPr>
              <a:spcBef>
                <a:spcPts val="0"/>
              </a:spcBef>
            </a:pPr>
            <a:r>
              <a:rPr lang="sv-SE" b="1"/>
              <a:t>Anders </a:t>
            </a:r>
            <a:r>
              <a:rPr lang="sv-SE" b="1" err="1"/>
              <a:t>Järlesjö</a:t>
            </a:r>
            <a:r>
              <a:rPr lang="sv-SE" b="1"/>
              <a:t> </a:t>
            </a:r>
            <a:r>
              <a:rPr lang="sv-SE"/>
              <a:t>– Sveaskog</a:t>
            </a:r>
          </a:p>
          <a:p>
            <a:pPr>
              <a:spcBef>
                <a:spcPts val="0"/>
              </a:spcBef>
            </a:pPr>
            <a:r>
              <a:rPr lang="sv-SE" b="1"/>
              <a:t>Magnus Norrby </a:t>
            </a:r>
            <a:r>
              <a:rPr lang="sv-SE"/>
              <a:t>– Sågverken Mellansverige</a:t>
            </a:r>
          </a:p>
          <a:p>
            <a:pPr>
              <a:spcBef>
                <a:spcPts val="0"/>
              </a:spcBef>
            </a:pPr>
            <a:r>
              <a:rPr lang="sv-SE" b="1"/>
              <a:t>Lars Persson </a:t>
            </a:r>
            <a:r>
              <a:rPr lang="sv-SE"/>
              <a:t>– Biometria</a:t>
            </a:r>
          </a:p>
          <a:p>
            <a:pPr>
              <a:spcBef>
                <a:spcPts val="0"/>
              </a:spcBef>
            </a:pPr>
            <a:r>
              <a:rPr lang="sv-SE" b="1"/>
              <a:t>Oskar Cederlöf </a:t>
            </a:r>
            <a:r>
              <a:rPr lang="sv-SE"/>
              <a:t>–</a:t>
            </a:r>
            <a:r>
              <a:rPr lang="sv-SE" b="1"/>
              <a:t> </a:t>
            </a:r>
            <a:r>
              <a:rPr lang="sv-SE"/>
              <a:t>Biometria</a:t>
            </a:r>
          </a:p>
        </p:txBody>
      </p:sp>
    </p:spTree>
    <p:extLst>
      <p:ext uri="{BB962C8B-B14F-4D97-AF65-F5344CB8AC3E}">
        <p14:creationId xmlns:p14="http://schemas.microsoft.com/office/powerpoint/2010/main" val="779530098"/>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ECDF387A-ACAF-D835-E4E0-45C1A8E1AECF}"/>
              </a:ext>
            </a:extLst>
          </p:cNvPr>
          <p:cNvSpPr>
            <a:spLocks noGrp="1"/>
          </p:cNvSpPr>
          <p:nvPr>
            <p:ph type="title"/>
          </p:nvPr>
        </p:nvSpPr>
        <p:spPr>
          <a:xfrm>
            <a:off x="838200" y="422143"/>
            <a:ext cx="10515600" cy="895285"/>
          </a:xfrm>
        </p:spPr>
        <p:txBody>
          <a:bodyPr/>
          <a:lstStyle/>
          <a:p>
            <a:r>
              <a:rPr lang="sv-SE" spc="0"/>
              <a:t>VAD ÄR EUDR?</a:t>
            </a:r>
          </a:p>
        </p:txBody>
      </p:sp>
      <p:sp>
        <p:nvSpPr>
          <p:cNvPr id="3" name="Platshållare för innehåll 2">
            <a:extLst>
              <a:ext uri="{FF2B5EF4-FFF2-40B4-BE49-F238E27FC236}">
                <a16:creationId xmlns:a16="http://schemas.microsoft.com/office/drawing/2014/main" id="{E3A94597-1045-2D98-4FF6-9875B807EBB3}"/>
              </a:ext>
            </a:extLst>
          </p:cNvPr>
          <p:cNvSpPr>
            <a:spLocks noGrp="1"/>
          </p:cNvSpPr>
          <p:nvPr>
            <p:ph idx="1"/>
          </p:nvPr>
        </p:nvSpPr>
        <p:spPr/>
        <p:txBody>
          <a:bodyPr>
            <a:normAutofit/>
          </a:bodyPr>
          <a:lstStyle/>
          <a:p>
            <a:pPr marL="4762" indent="0">
              <a:spcAft>
                <a:spcPts val="600"/>
              </a:spcAft>
              <a:buNone/>
            </a:pPr>
            <a:r>
              <a:rPr lang="sv-SE" sz="1700">
                <a:latin typeface="+mj-lt"/>
                <a:ea typeface="Noto Serif" panose="02020600060500020200" pitchFamily="18" charset="0"/>
                <a:cs typeface="Noto Serif" panose="02020600060500020200" pitchFamily="18" charset="0"/>
              </a:rPr>
              <a:t>VAD EU FORMELLT KRÄVER:</a:t>
            </a:r>
          </a:p>
          <a:p>
            <a:pPr marL="285750" indent="-285750">
              <a:spcAft>
                <a:spcPts val="600"/>
              </a:spcAft>
            </a:pPr>
            <a:r>
              <a:rPr lang="sv-SE" sz="1600">
                <a:latin typeface="Noto Serif" panose="02020600060500020200" pitchFamily="18" charset="0"/>
                <a:ea typeface="Noto Serif" panose="02020600060500020200" pitchFamily="18" charset="0"/>
                <a:cs typeface="Noto Serif" panose="02020600060500020200" pitchFamily="18" charset="0"/>
              </a:rPr>
              <a:t>Skogsprodukter får inte utsläppas på EU:s inre marknad importeras eller exporteras om de orsakar avskogning eller degenerering* av skog och ska ha ett intyg om tillbörlig aktsamhet. </a:t>
            </a:r>
          </a:p>
          <a:p>
            <a:pPr marL="285750" indent="-285750">
              <a:spcAft>
                <a:spcPts val="600"/>
              </a:spcAft>
            </a:pPr>
            <a:r>
              <a:rPr lang="sv-SE" sz="1600">
                <a:latin typeface="Noto Serif" panose="02020600060500020200" pitchFamily="18" charset="0"/>
                <a:ea typeface="Noto Serif" panose="02020600060500020200" pitchFamily="18" charset="0"/>
                <a:cs typeface="Noto Serif" panose="02020600060500020200" pitchFamily="18" charset="0"/>
              </a:rPr>
              <a:t>Verksamhetsutövare eller stora handlare ska tillämpa tillbörlig aktsamhet – dvs på något sätt kunna säkerställa att man inte bidrar till avskogning eller degenerering av skog - samt tillhandahålla ett intyg om detta till EU</a:t>
            </a:r>
          </a:p>
          <a:p>
            <a:pPr marL="285750" indent="-285750">
              <a:spcAft>
                <a:spcPts val="600"/>
              </a:spcAft>
            </a:pPr>
            <a:r>
              <a:rPr lang="sv-SE" sz="1600">
                <a:latin typeface="Noto Serif" panose="02020600060500020200" pitchFamily="18" charset="0"/>
                <a:ea typeface="Noto Serif" panose="02020600060500020200" pitchFamily="18" charset="0"/>
                <a:cs typeface="Noto Serif" panose="02020600060500020200" pitchFamily="18" charset="0"/>
              </a:rPr>
              <a:t>Intyget om tillbörlig aktsamhet ska innehålla viss detaljerad information där avverkningsplatsen är central.</a:t>
            </a:r>
          </a:p>
          <a:p>
            <a:pPr marL="285750" indent="-285750">
              <a:spcAft>
                <a:spcPts val="600"/>
              </a:spcAft>
            </a:pPr>
            <a:r>
              <a:rPr lang="sv-SE" sz="1600">
                <a:latin typeface="Noto Serif" panose="02020600060500020200" pitchFamily="18" charset="0"/>
                <a:ea typeface="Noto Serif" panose="02020600060500020200" pitchFamily="18" charset="0"/>
                <a:cs typeface="Noto Serif" panose="02020600060500020200" pitchFamily="18" charset="0"/>
              </a:rPr>
              <a:t>Målet är att alla produkter som innehåller trä ska vara spårbara tillbaks till produktionsplatsen. För träråvara gäller avverkningstrakten.</a:t>
            </a:r>
          </a:p>
          <a:p>
            <a:endParaRPr lang="sv-SE"/>
          </a:p>
        </p:txBody>
      </p:sp>
      <p:sp>
        <p:nvSpPr>
          <p:cNvPr id="14" name="textruta 13">
            <a:extLst>
              <a:ext uri="{FF2B5EF4-FFF2-40B4-BE49-F238E27FC236}">
                <a16:creationId xmlns:a16="http://schemas.microsoft.com/office/drawing/2014/main" id="{6C297C6D-D407-B064-4570-D499BF07E737}"/>
              </a:ext>
            </a:extLst>
          </p:cNvPr>
          <p:cNvSpPr txBox="1"/>
          <p:nvPr/>
        </p:nvSpPr>
        <p:spPr>
          <a:xfrm>
            <a:off x="838200" y="994628"/>
            <a:ext cx="10770857" cy="83099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EUDR - </a:t>
            </a:r>
            <a:r>
              <a:rPr kumimoji="0" lang="sv-SE" sz="1600" b="0" i="0" u="none" strike="noStrike" kern="1200" cap="none" spc="0" normalizeH="0" baseline="0" noProof="0" err="1">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European</a:t>
            </a:r>
            <a:r>
              <a:rPr kumimoji="0" lang="sv-SE" sz="1600" b="0"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 </a:t>
            </a:r>
            <a:r>
              <a:rPr kumimoji="0" lang="sv-SE" sz="1600" b="0" i="0" u="none" strike="noStrike" kern="1200" cap="none" spc="0" normalizeH="0" baseline="0" noProof="0" err="1">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Deforestation</a:t>
            </a:r>
            <a:r>
              <a:rPr kumimoji="0" lang="sv-SE" sz="1600" b="0"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 </a:t>
            </a:r>
            <a:r>
              <a:rPr kumimoji="0" lang="sv-SE" sz="1600" b="0" i="0" u="none" strike="noStrike" kern="1200" cap="none" spc="0" normalizeH="0" baseline="0" noProof="0" err="1">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Regulation</a:t>
            </a:r>
            <a:r>
              <a:rPr kumimoji="0" lang="sv-SE" sz="1600" b="0"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 ska motverka den avskogning och skogsförstörelse som pågår i världen och som EU:s medborgare har en stor del i. Det riktar sig därför mot ett antal råvaror som trä, kaffe, kakao, nötkött m.m. Förordningen fastslogs i juni 2023 och ska vara implementerad </a:t>
            </a:r>
            <a:r>
              <a:rPr kumimoji="0" lang="sv-SE" sz="1600" b="1"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30 december 2024</a:t>
            </a:r>
            <a:r>
              <a:rPr kumimoji="0" lang="sv-SE" sz="1600" b="0" i="0" u="none" strike="noStrike" kern="1200" cap="none" spc="0" normalizeH="0" baseline="0" noProof="0">
                <a:ln>
                  <a:noFill/>
                </a:ln>
                <a:solidFill>
                  <a:srgbClr val="FFFFFF"/>
                </a:solidFill>
                <a:effectLst/>
                <a:uLnTx/>
                <a:uFillTx/>
                <a:latin typeface="Noto Serif" panose="02020600060500020200" pitchFamily="18" charset="0"/>
                <a:ea typeface="Noto Serif" panose="02020600060500020200" pitchFamily="18" charset="0"/>
                <a:cs typeface="Noto Serif" panose="02020600060500020200" pitchFamily="18" charset="0"/>
              </a:rPr>
              <a:t>.</a:t>
            </a:r>
          </a:p>
        </p:txBody>
      </p:sp>
    </p:spTree>
    <p:extLst>
      <p:ext uri="{BB962C8B-B14F-4D97-AF65-F5344CB8AC3E}">
        <p14:creationId xmlns:p14="http://schemas.microsoft.com/office/powerpoint/2010/main" val="222063374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4F559F-0E81-546C-3434-AF885B8D761A}"/>
              </a:ext>
            </a:extLst>
          </p:cNvPr>
          <p:cNvSpPr>
            <a:spLocks noGrp="1"/>
          </p:cNvSpPr>
          <p:nvPr>
            <p:ph type="title"/>
          </p:nvPr>
        </p:nvSpPr>
        <p:spPr>
          <a:xfrm>
            <a:off x="660647" y="18897"/>
            <a:ext cx="10515600" cy="957648"/>
          </a:xfrm>
        </p:spPr>
        <p:txBody>
          <a:bodyPr/>
          <a:lstStyle/>
          <a:p>
            <a:r>
              <a:rPr lang="sv-SE" b="0" spc="0"/>
              <a:t>VILKEN INFORMATION </a:t>
            </a:r>
            <a:r>
              <a:rPr lang="sv-SE" b="0"/>
              <a:t>HANTERAS VID ANMÄLAN </a:t>
            </a:r>
            <a:r>
              <a:rPr lang="sv-SE" b="0" spc="0"/>
              <a:t>TILL EU?</a:t>
            </a:r>
          </a:p>
        </p:txBody>
      </p:sp>
      <p:graphicFrame>
        <p:nvGraphicFramePr>
          <p:cNvPr id="6" name="Tabell 5">
            <a:extLst>
              <a:ext uri="{FF2B5EF4-FFF2-40B4-BE49-F238E27FC236}">
                <a16:creationId xmlns:a16="http://schemas.microsoft.com/office/drawing/2014/main" id="{67B00579-BC78-B3E1-D8A7-CC4F18D39247}"/>
              </a:ext>
            </a:extLst>
          </p:cNvPr>
          <p:cNvGraphicFramePr>
            <a:graphicFrameLocks noGrp="1"/>
          </p:cNvGraphicFramePr>
          <p:nvPr>
            <p:extLst>
              <p:ext uri="{D42A27DB-BD31-4B8C-83A1-F6EECF244321}">
                <p14:modId xmlns:p14="http://schemas.microsoft.com/office/powerpoint/2010/main" val="1432063477"/>
              </p:ext>
            </p:extLst>
          </p:nvPr>
        </p:nvGraphicFramePr>
        <p:xfrm>
          <a:off x="660647" y="750793"/>
          <a:ext cx="9894903" cy="5273040"/>
        </p:xfrm>
        <a:graphic>
          <a:graphicData uri="http://schemas.openxmlformats.org/drawingml/2006/table">
            <a:tbl>
              <a:tblPr firstRow="1" bandRow="1">
                <a:tableStyleId>{5C22544A-7EE6-4342-B048-85BDC9FD1C3A}</a:tableStyleId>
              </a:tblPr>
              <a:tblGrid>
                <a:gridCol w="2030603">
                  <a:extLst>
                    <a:ext uri="{9D8B030D-6E8A-4147-A177-3AD203B41FA5}">
                      <a16:colId xmlns:a16="http://schemas.microsoft.com/office/drawing/2014/main" val="3206728520"/>
                    </a:ext>
                  </a:extLst>
                </a:gridCol>
                <a:gridCol w="3443220">
                  <a:extLst>
                    <a:ext uri="{9D8B030D-6E8A-4147-A177-3AD203B41FA5}">
                      <a16:colId xmlns:a16="http://schemas.microsoft.com/office/drawing/2014/main" val="3856281322"/>
                    </a:ext>
                  </a:extLst>
                </a:gridCol>
                <a:gridCol w="2213444">
                  <a:extLst>
                    <a:ext uri="{9D8B030D-6E8A-4147-A177-3AD203B41FA5}">
                      <a16:colId xmlns:a16="http://schemas.microsoft.com/office/drawing/2014/main" val="247954917"/>
                    </a:ext>
                  </a:extLst>
                </a:gridCol>
                <a:gridCol w="2207636">
                  <a:extLst>
                    <a:ext uri="{9D8B030D-6E8A-4147-A177-3AD203B41FA5}">
                      <a16:colId xmlns:a16="http://schemas.microsoft.com/office/drawing/2014/main" val="3320517005"/>
                    </a:ext>
                  </a:extLst>
                </a:gridCol>
              </a:tblGrid>
              <a:tr h="370840">
                <a:tc>
                  <a:txBody>
                    <a:bodyPr/>
                    <a:lstStyle/>
                    <a:p>
                      <a:r>
                        <a:rPr lang="sv-SE" sz="1000">
                          <a:latin typeface="+mj-lt"/>
                        </a:rPr>
                        <a:t>Information</a:t>
                      </a:r>
                    </a:p>
                  </a:txBody>
                  <a:tcPr/>
                </a:tc>
                <a:tc>
                  <a:txBody>
                    <a:bodyPr/>
                    <a:lstStyle/>
                    <a:p>
                      <a:r>
                        <a:rPr lang="sv-SE" sz="1000">
                          <a:latin typeface="+mj-lt"/>
                        </a:rPr>
                        <a:t>Kommentar eller förtydligande</a:t>
                      </a:r>
                    </a:p>
                  </a:txBody>
                  <a:tcPr/>
                </a:tc>
                <a:tc>
                  <a:txBody>
                    <a:bodyPr/>
                    <a:lstStyle/>
                    <a:p>
                      <a:r>
                        <a:rPr lang="sv-SE" sz="1000">
                          <a:latin typeface="+mj-lt"/>
                        </a:rPr>
                        <a:t>Lagras uppgiften i VIOL2 och hur länge?</a:t>
                      </a:r>
                    </a:p>
                  </a:txBody>
                  <a:tcPr/>
                </a:tc>
                <a:tc>
                  <a:txBody>
                    <a:bodyPr/>
                    <a:lstStyle/>
                    <a:p>
                      <a:r>
                        <a:rPr lang="sv-SE" sz="1000">
                          <a:latin typeface="+mj-lt"/>
                        </a:rPr>
                        <a:t>VIOL3?</a:t>
                      </a:r>
                    </a:p>
                  </a:txBody>
                  <a:tcPr/>
                </a:tc>
                <a:extLst>
                  <a:ext uri="{0D108BD9-81ED-4DB2-BD59-A6C34878D82A}">
                    <a16:rowId xmlns:a16="http://schemas.microsoft.com/office/drawing/2014/main" val="1063092717"/>
                  </a:ext>
                </a:extLst>
              </a:tr>
              <a:tr h="370840">
                <a:tc>
                  <a:txBody>
                    <a:bodyPr/>
                    <a:lstStyle/>
                    <a:p>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Namn och adress på verksamhetsutövare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Verksamhetsutövare är inte ett begrepp som finns i VIOL. Däremot finns information om förste köpare vilket oftast kommer att svara mot verksamhetsutövaren. Verksamhetsutövare är normalt sett den som köper eller låter utföra avverkningen. I nästa steg så blir verksamhetsutövaren den som tex säljer virke från terminalen eller sågverksflisen från sågverket. </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Enligt generella rensningsrutiner – dvs 27-36 månader</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Transaktioner ska vara tillgängliga för korrigering under 18 månader. </a:t>
                      </a:r>
                    </a:p>
                    <a:p>
                      <a:r>
                        <a:rPr lang="sv-SE" sz="1000">
                          <a:latin typeface="Open Sans" panose="020B0606030504020204" pitchFamily="34" charset="0"/>
                          <a:ea typeface="Open Sans" panose="020B0606030504020204" pitchFamily="34" charset="0"/>
                          <a:cs typeface="Open Sans" panose="020B0606030504020204" pitchFamily="34" charset="0"/>
                        </a:rPr>
                        <a:t>Lagringstid i BI ej beslutat.</a:t>
                      </a:r>
                    </a:p>
                    <a:p>
                      <a:endParaRPr lang="sv-SE" sz="10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228115071"/>
                  </a:ext>
                </a:extLst>
              </a:tr>
              <a:tr h="370840">
                <a:tc>
                  <a:txBody>
                    <a:bodyPr/>
                    <a:lstStyle/>
                    <a:p>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Harmoniserad varukod  för aktuell produkt/sortiment</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Anmälan avseende en skogsavverkning behöver normalt endast delas upp på två olika harmoniserade varukoder. En kvantitet för 4401 Brännved och en kvantitet för 4403 Virke obearbetat eller barkat (alltså allt övrig virke på trakten). Andra koder gäller för färdigvaror från industri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Finns inte i VI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Finns inte i VIOL.</a:t>
                      </a:r>
                    </a:p>
                    <a:p>
                      <a:endParaRPr lang="sv-SE" sz="1000">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416080131"/>
                  </a:ext>
                </a:extLst>
              </a:tr>
              <a:tr h="370840">
                <a:tc>
                  <a:txBody>
                    <a:bodyPr/>
                    <a:lstStyle/>
                    <a:p>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Planerad kvantitet uttryckt i vikt, volym eller antal</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Vid avverkning i Sverige kan volym anges och vid import eller export måste vikt anges. Kvantiteten avser per harmoniserad varukod och flera olika sortiment/handelssortiment slås alltså ihop vid anmäla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Det finns möjlighet att ha planerade volymer på respektive virkesorderrad dvs per sortiment och mottagningsplats i VIOL2.</a:t>
                      </a:r>
                      <a:r>
                        <a:rPr lang="sv-SE" sz="1000">
                          <a:solidFill>
                            <a:srgbClr val="FF0000"/>
                          </a:solidFill>
                          <a:latin typeface="Open Sans" panose="020B0606030504020204" pitchFamily="34" charset="0"/>
                          <a:ea typeface="Open Sans" panose="020B0606030504020204" pitchFamily="34" charset="0"/>
                          <a:cs typeface="Open Sans" panose="020B0606030504020204" pitchFamily="34" charset="0"/>
                        </a:rPr>
                        <a:t> </a:t>
                      </a:r>
                      <a:r>
                        <a:rPr lang="sv-SE" sz="1000">
                          <a:latin typeface="Open Sans" panose="020B0606030504020204" pitchFamily="34" charset="0"/>
                          <a:ea typeface="Open Sans" panose="020B0606030504020204" pitchFamily="34" charset="0"/>
                          <a:cs typeface="Open Sans" panose="020B0606030504020204" pitchFamily="34" charset="0"/>
                        </a:rPr>
                        <a:t>Enligt generella rensningsrutiner – se ovan.</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Planerad kvantitet kan läggas på </a:t>
                      </a:r>
                      <a:r>
                        <a:rPr lang="sv-SE" sz="1000" err="1">
                          <a:solidFill>
                            <a:schemeClr val="tx1"/>
                          </a:solidFill>
                          <a:latin typeface="Open Sans" panose="020B0606030504020204" pitchFamily="34" charset="0"/>
                          <a:ea typeface="Open Sans" panose="020B0606030504020204" pitchFamily="34" charset="0"/>
                          <a:cs typeface="Open Sans" panose="020B0606030504020204" pitchFamily="34" charset="0"/>
                        </a:rPr>
                        <a:t>radnivå</a:t>
                      </a: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 för varje handelssortiment i avtalsobjektet. Avtalsobjekt kan leva upp till 20 år.</a:t>
                      </a:r>
                    </a:p>
                  </a:txBody>
                  <a:tcPr/>
                </a:tc>
                <a:extLst>
                  <a:ext uri="{0D108BD9-81ED-4DB2-BD59-A6C34878D82A}">
                    <a16:rowId xmlns:a16="http://schemas.microsoft.com/office/drawing/2014/main" val="4124744117"/>
                  </a:ext>
                </a:extLst>
              </a:tr>
              <a:tr h="370840">
                <a:tc>
                  <a:txBody>
                    <a:bodyPr/>
                    <a:lstStyle/>
                    <a:p>
                      <a:r>
                        <a:rPr lang="sv-SE" sz="1000" b="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rPr>
                        <a:t>Vetenskapligt namn för trädslaget</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Trädslag anges med latinskt namn. Flera olika trädslag normalt sett för de harmoniserade varukoder som ska användas i anmälan.</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Finns inte i VI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Finns inte i VIOL.</a:t>
                      </a:r>
                    </a:p>
                    <a:p>
                      <a:endParaRPr lang="sv-SE" sz="1000">
                        <a:solidFill>
                          <a:srgbClr val="FF0000"/>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74564141"/>
                  </a:ext>
                </a:extLst>
              </a:tr>
              <a:tr h="370840">
                <a:tc>
                  <a:txBody>
                    <a:bodyPr/>
                    <a:lstStyle/>
                    <a:p>
                      <a:r>
                        <a:rPr lang="sv-SE" sz="1000" b="0">
                          <a:solidFill>
                            <a:schemeClr val="tx1"/>
                          </a:solidFill>
                          <a:latin typeface="Open Sans SemiBold" panose="020B0706030804020204" pitchFamily="34" charset="0"/>
                          <a:ea typeface="Open Sans SemiBold" panose="020B0706030804020204" pitchFamily="34" charset="0"/>
                          <a:cs typeface="Open Sans SemiBold" panose="020B0706030804020204" pitchFamily="34" charset="0"/>
                        </a:rPr>
                        <a:t>Handelsnamn på produkt</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Vid anmälan till EU för en avverkningstrakt grupperas sortimenten på en högre nivå (normalt endast två för en avverkningstrakt). Förslag att i anmälan endast ange handelsnamnen Brännved och Övrigt rundvirke. För förädlade produkter som tex sågade trävaror kan stöd sökas bland de av Tullverket publicerade varukoderna.</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Sortiment finns i VIOL 2 men dessa är mycket mer finfördelade än de harmoniserade varukoderna. </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Handelssortiment finns i VIOL 3 men dessa är mycket mer finfördelade än de harmoniserade varukoderna. </a:t>
                      </a:r>
                    </a:p>
                  </a:txBody>
                  <a:tcPr/>
                </a:tc>
                <a:extLst>
                  <a:ext uri="{0D108BD9-81ED-4DB2-BD59-A6C34878D82A}">
                    <a16:rowId xmlns:a16="http://schemas.microsoft.com/office/drawing/2014/main" val="3247053218"/>
                  </a:ext>
                </a:extLst>
              </a:tr>
            </a:tbl>
          </a:graphicData>
        </a:graphic>
      </p:graphicFrame>
      <p:sp>
        <p:nvSpPr>
          <p:cNvPr id="5" name="textruta 4">
            <a:extLst>
              <a:ext uri="{FF2B5EF4-FFF2-40B4-BE49-F238E27FC236}">
                <a16:creationId xmlns:a16="http://schemas.microsoft.com/office/drawing/2014/main" id="{525E6027-AE50-F3FE-E160-AE34441BCD2C}"/>
              </a:ext>
            </a:extLst>
          </p:cNvPr>
          <p:cNvSpPr txBox="1"/>
          <p:nvPr/>
        </p:nvSpPr>
        <p:spPr>
          <a:xfrm>
            <a:off x="10715348" y="6152225"/>
            <a:ext cx="1349405"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Noto Serif"/>
                <a:ea typeface="+mn-ea"/>
                <a:cs typeface="+mn-cs"/>
              </a:rPr>
              <a:t>*</a:t>
            </a:r>
            <a:r>
              <a:rPr kumimoji="0" lang="sv-SE" sz="800" b="0" i="0" u="none" strike="noStrike" kern="1200" cap="none" spc="0" normalizeH="0" baseline="0" noProof="0" err="1">
                <a:ln>
                  <a:noFill/>
                </a:ln>
                <a:solidFill>
                  <a:srgbClr val="000000"/>
                </a:solidFill>
                <a:effectLst/>
                <a:uLnTx/>
                <a:uFillTx/>
                <a:latin typeface="Noto Serif"/>
                <a:ea typeface="+mn-ea"/>
                <a:cs typeface="+mn-cs"/>
              </a:rPr>
              <a:t>Traces</a:t>
            </a:r>
            <a:r>
              <a:rPr kumimoji="0" lang="sv-SE" sz="800" b="0" i="0" u="none" strike="noStrike" kern="1200" cap="none" spc="0" normalizeH="0" baseline="0" noProof="0">
                <a:ln>
                  <a:noFill/>
                </a:ln>
                <a:solidFill>
                  <a:srgbClr val="000000"/>
                </a:solidFill>
                <a:effectLst/>
                <a:uLnTx/>
                <a:uFillTx/>
                <a:latin typeface="Noto Serif"/>
                <a:ea typeface="+mn-ea"/>
                <a:cs typeface="+mn-cs"/>
              </a:rPr>
              <a:t> är EUs system för hantering av anmälningar</a:t>
            </a:r>
          </a:p>
        </p:txBody>
      </p:sp>
    </p:spTree>
    <p:extLst>
      <p:ext uri="{BB962C8B-B14F-4D97-AF65-F5344CB8AC3E}">
        <p14:creationId xmlns:p14="http://schemas.microsoft.com/office/powerpoint/2010/main" val="125472203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4F559F-0E81-546C-3434-AF885B8D761A}"/>
              </a:ext>
            </a:extLst>
          </p:cNvPr>
          <p:cNvSpPr>
            <a:spLocks noGrp="1"/>
          </p:cNvSpPr>
          <p:nvPr>
            <p:ph type="title"/>
          </p:nvPr>
        </p:nvSpPr>
        <p:spPr>
          <a:xfrm>
            <a:off x="634014" y="81039"/>
            <a:ext cx="10515600" cy="753461"/>
          </a:xfrm>
        </p:spPr>
        <p:txBody>
          <a:bodyPr/>
          <a:lstStyle/>
          <a:p>
            <a:r>
              <a:rPr lang="sv-SE" b="0" spc="0"/>
              <a:t>VILKEN INFORMATION </a:t>
            </a:r>
            <a:r>
              <a:rPr lang="sv-SE" b="0"/>
              <a:t>HANTERAS VID ANMÄLAN </a:t>
            </a:r>
            <a:r>
              <a:rPr lang="sv-SE" b="0" spc="0"/>
              <a:t>TILL EU? (forts)</a:t>
            </a:r>
          </a:p>
        </p:txBody>
      </p:sp>
      <p:graphicFrame>
        <p:nvGraphicFramePr>
          <p:cNvPr id="6" name="Tabell 5">
            <a:extLst>
              <a:ext uri="{FF2B5EF4-FFF2-40B4-BE49-F238E27FC236}">
                <a16:creationId xmlns:a16="http://schemas.microsoft.com/office/drawing/2014/main" id="{67B00579-BC78-B3E1-D8A7-CC4F18D39247}"/>
              </a:ext>
            </a:extLst>
          </p:cNvPr>
          <p:cNvGraphicFramePr>
            <a:graphicFrameLocks noGrp="1"/>
          </p:cNvGraphicFramePr>
          <p:nvPr>
            <p:extLst>
              <p:ext uri="{D42A27DB-BD31-4B8C-83A1-F6EECF244321}">
                <p14:modId xmlns:p14="http://schemas.microsoft.com/office/powerpoint/2010/main" val="134446327"/>
              </p:ext>
            </p:extLst>
          </p:nvPr>
        </p:nvGraphicFramePr>
        <p:xfrm>
          <a:off x="634014" y="834500"/>
          <a:ext cx="10649505" cy="5796280"/>
        </p:xfrm>
        <a:graphic>
          <a:graphicData uri="http://schemas.openxmlformats.org/drawingml/2006/table">
            <a:tbl>
              <a:tblPr firstRow="1" bandRow="1">
                <a:tableStyleId>{5C22544A-7EE6-4342-B048-85BDC9FD1C3A}</a:tableStyleId>
              </a:tblPr>
              <a:tblGrid>
                <a:gridCol w="2056461">
                  <a:extLst>
                    <a:ext uri="{9D8B030D-6E8A-4147-A177-3AD203B41FA5}">
                      <a16:colId xmlns:a16="http://schemas.microsoft.com/office/drawing/2014/main" val="3206728520"/>
                    </a:ext>
                  </a:extLst>
                </a:gridCol>
                <a:gridCol w="2864348">
                  <a:extLst>
                    <a:ext uri="{9D8B030D-6E8A-4147-A177-3AD203B41FA5}">
                      <a16:colId xmlns:a16="http://schemas.microsoft.com/office/drawing/2014/main" val="3856281322"/>
                    </a:ext>
                  </a:extLst>
                </a:gridCol>
                <a:gridCol w="2864348">
                  <a:extLst>
                    <a:ext uri="{9D8B030D-6E8A-4147-A177-3AD203B41FA5}">
                      <a16:colId xmlns:a16="http://schemas.microsoft.com/office/drawing/2014/main" val="247954917"/>
                    </a:ext>
                  </a:extLst>
                </a:gridCol>
                <a:gridCol w="2864348">
                  <a:extLst>
                    <a:ext uri="{9D8B030D-6E8A-4147-A177-3AD203B41FA5}">
                      <a16:colId xmlns:a16="http://schemas.microsoft.com/office/drawing/2014/main" val="3320517005"/>
                    </a:ext>
                  </a:extLst>
                </a:gridCol>
              </a:tblGrid>
              <a:tr h="370840">
                <a:tc>
                  <a:txBody>
                    <a:bodyPr/>
                    <a:lstStyle/>
                    <a:p>
                      <a:r>
                        <a:rPr lang="sv-SE" sz="1000">
                          <a:latin typeface="+mj-lt"/>
                        </a:rPr>
                        <a:t>Information</a:t>
                      </a:r>
                    </a:p>
                  </a:txBody>
                  <a:tcPr/>
                </a:tc>
                <a:tc>
                  <a:txBody>
                    <a:bodyPr/>
                    <a:lstStyle/>
                    <a:p>
                      <a:r>
                        <a:rPr lang="sv-SE" sz="1000">
                          <a:latin typeface="+mj-lt"/>
                        </a:rPr>
                        <a:t>Kommentar eller förtydligande</a:t>
                      </a:r>
                    </a:p>
                  </a:txBody>
                  <a:tcPr/>
                </a:tc>
                <a:tc>
                  <a:txBody>
                    <a:bodyPr/>
                    <a:lstStyle/>
                    <a:p>
                      <a:r>
                        <a:rPr lang="sv-SE" sz="1000">
                          <a:latin typeface="+mj-lt"/>
                        </a:rPr>
                        <a:t>Lagras uppgiften i VIOL2 och hur länge?</a:t>
                      </a:r>
                    </a:p>
                  </a:txBody>
                  <a:tcPr/>
                </a:tc>
                <a:tc>
                  <a:txBody>
                    <a:bodyPr/>
                    <a:lstStyle/>
                    <a:p>
                      <a:r>
                        <a:rPr lang="sv-SE" sz="1000">
                          <a:latin typeface="+mj-lt"/>
                        </a:rPr>
                        <a:t>VIOL3?</a:t>
                      </a:r>
                    </a:p>
                  </a:txBody>
                  <a:tcPr/>
                </a:tc>
                <a:extLst>
                  <a:ext uri="{0D108BD9-81ED-4DB2-BD59-A6C34878D82A}">
                    <a16:rowId xmlns:a16="http://schemas.microsoft.com/office/drawing/2014/main" val="1063092717"/>
                  </a:ext>
                </a:extLst>
              </a:tr>
              <a:tr h="370840">
                <a:tc>
                  <a:txBody>
                    <a:bodyPr/>
                    <a:lstStyle/>
                    <a:p>
                      <a:r>
                        <a:rPr lang="sv-SE" sz="1000" b="0">
                          <a:latin typeface="Open Sans SemiBold"/>
                          <a:ea typeface="Open Sans SemiBold"/>
                          <a:cs typeface="Open Sans SemiBold"/>
                        </a:rPr>
                        <a:t>Produktionsland</a:t>
                      </a:r>
                    </a:p>
                  </a:txBody>
                  <a:tcPr/>
                </a:tc>
                <a:tc>
                  <a:txBody>
                    <a:bodyPr/>
                    <a:lstStyle/>
                    <a:p>
                      <a:r>
                        <a:rPr lang="sv-SE" sz="1000">
                          <a:latin typeface="Open Sans"/>
                          <a:ea typeface="Open Sans"/>
                          <a:cs typeface="Open Sans"/>
                        </a:rPr>
                        <a:t>Det land där avverkningen utfördes eller produkten producerade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a:ea typeface="Open Sans"/>
                          <a:cs typeface="Open Sans"/>
                        </a:rPr>
                        <a:t>LKF-koden innehåller möjlighet till ett landsnummer vid import och vid råvara från Sverige anges LKF innebärande att landet är självklart (Sverige). Enligt generella rensningsrutiner – se tidigare sida.</a:t>
                      </a:r>
                    </a:p>
                  </a:txBody>
                  <a:tcPr/>
                </a:tc>
                <a:tc>
                  <a:txBody>
                    <a:bodyPr/>
                    <a:lstStyle/>
                    <a:p>
                      <a:r>
                        <a:rPr lang="sv-SE" sz="1000">
                          <a:latin typeface="Open Sans"/>
                          <a:ea typeface="Open Sans"/>
                          <a:cs typeface="Open Sans"/>
                        </a:rPr>
                        <a:t>Land finns som en </a:t>
                      </a:r>
                      <a:r>
                        <a:rPr lang="sv-SE" sz="1000">
                          <a:solidFill>
                            <a:schemeClr val="tx1"/>
                          </a:solidFill>
                          <a:latin typeface="Open Sans"/>
                          <a:ea typeface="Open Sans"/>
                          <a:cs typeface="Open Sans"/>
                        </a:rPr>
                        <a:t>egen informationsmängd på avtalsobjektet och avtalsobjektet kan gälla i upp till 20 år.</a:t>
                      </a:r>
                    </a:p>
                  </a:txBody>
                  <a:tcPr/>
                </a:tc>
                <a:extLst>
                  <a:ext uri="{0D108BD9-81ED-4DB2-BD59-A6C34878D82A}">
                    <a16:rowId xmlns:a16="http://schemas.microsoft.com/office/drawing/2014/main" val="894814071"/>
                  </a:ext>
                </a:extLst>
              </a:tr>
              <a:tr h="370840">
                <a:tc>
                  <a:txBody>
                    <a:bodyPr/>
                    <a:lstStyle/>
                    <a:p>
                      <a:r>
                        <a:rPr lang="sv-SE" sz="1000" b="0">
                          <a:latin typeface="Open Sans SemiBold"/>
                          <a:ea typeface="Open Sans SemiBold"/>
                          <a:cs typeface="Open Sans SemiBold"/>
                        </a:rPr>
                        <a:t>Geografiskt ursprung uttryckt som centrumkoordinat eller geografisk yta  </a:t>
                      </a:r>
                      <a:endParaRPr lang="sv-SE" sz="1000" b="0">
                        <a:latin typeface="Open Sans SemiBold" panose="020B0706030804020204" pitchFamily="34" charset="0"/>
                        <a:ea typeface="Open Sans SemiBold" panose="020B0706030804020204" pitchFamily="34" charset="0"/>
                        <a:cs typeface="Open Sans SemiBold" panose="020B0706030804020204" pitchFamily="34" charset="0"/>
                      </a:endParaRPr>
                    </a:p>
                  </a:txBody>
                  <a:tcPr/>
                </a:tc>
                <a:tc>
                  <a:txBody>
                    <a:bodyPr/>
                    <a:lstStyle/>
                    <a:p>
                      <a:r>
                        <a:rPr lang="sv-SE" sz="1000">
                          <a:latin typeface="Open Sans"/>
                          <a:ea typeface="Open Sans"/>
                          <a:cs typeface="Open Sans"/>
                        </a:rPr>
                        <a:t>För trakter &lt;4 ha ska centrumkoordinat och antal ha anges.</a:t>
                      </a:r>
                    </a:p>
                    <a:p>
                      <a:r>
                        <a:rPr lang="sv-SE" sz="1000">
                          <a:latin typeface="Open Sans"/>
                          <a:ea typeface="Open Sans"/>
                          <a:cs typeface="Open Sans"/>
                        </a:rPr>
                        <a:t>Vid trakter &gt;4 ha ska den geografiska utbredningen kunna redovisas. </a:t>
                      </a:r>
                    </a:p>
                    <a:p>
                      <a:r>
                        <a:rPr lang="sv-SE" sz="1000">
                          <a:solidFill>
                            <a:schemeClr val="tx1"/>
                          </a:solidFill>
                          <a:latin typeface="Open Sans"/>
                          <a:ea typeface="Open Sans"/>
                          <a:cs typeface="Open Sans"/>
                        </a:rPr>
                        <a:t>Format för att sända in GIS-filer är </a:t>
                      </a:r>
                      <a:r>
                        <a:rPr lang="sv-SE" sz="1000" err="1">
                          <a:solidFill>
                            <a:schemeClr val="tx1"/>
                          </a:solidFill>
                          <a:latin typeface="Open Sans"/>
                          <a:ea typeface="Open Sans"/>
                          <a:cs typeface="Open Sans"/>
                        </a:rPr>
                        <a:t>GeoJson</a:t>
                      </a:r>
                      <a:r>
                        <a:rPr lang="sv-SE" sz="1000">
                          <a:solidFill>
                            <a:schemeClr val="tx1"/>
                          </a:solidFill>
                          <a:latin typeface="Open Sans"/>
                          <a:ea typeface="Open Sans"/>
                          <a:cs typeface="Open Sans"/>
                        </a:rPr>
                        <a:t>, högst 25 MB per fil.</a:t>
                      </a:r>
                    </a:p>
                    <a:p>
                      <a:r>
                        <a:rPr lang="sv-SE" sz="1000">
                          <a:solidFill>
                            <a:schemeClr val="tx1"/>
                          </a:solidFill>
                          <a:latin typeface="Open Sans"/>
                          <a:ea typeface="Open Sans"/>
                          <a:cs typeface="Open Sans"/>
                        </a:rPr>
                        <a:t>Geografiskt ursprung ska anges per Harmoniserad varukod innebärande att som </a:t>
                      </a:r>
                      <a:r>
                        <a:rPr lang="sv-SE" sz="1000" err="1">
                          <a:solidFill>
                            <a:schemeClr val="tx1"/>
                          </a:solidFill>
                          <a:latin typeface="Open Sans"/>
                          <a:ea typeface="Open Sans"/>
                          <a:cs typeface="Open Sans"/>
                        </a:rPr>
                        <a:t>Traces</a:t>
                      </a:r>
                      <a:r>
                        <a:rPr lang="sv-SE" sz="1000">
                          <a:solidFill>
                            <a:schemeClr val="tx1"/>
                          </a:solidFill>
                          <a:latin typeface="Open Sans"/>
                          <a:ea typeface="Open Sans"/>
                          <a:cs typeface="Open Sans"/>
                        </a:rPr>
                        <a:t> nu är uppsatt måste samma information anges två gånger.</a:t>
                      </a: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Vare sig centrumkoordinat eller geografisk yta finns i VIOL 2. Däremot finns krav på avläggskoordinat för att svara mot kravet i Timmerförordningen EUTR. </a:t>
                      </a:r>
                      <a:r>
                        <a:rPr lang="sv-SE" sz="1000">
                          <a:latin typeface="Open Sans" panose="020B0606030504020204" pitchFamily="34" charset="0"/>
                          <a:ea typeface="Open Sans" panose="020B0606030504020204" pitchFamily="34" charset="0"/>
                          <a:cs typeface="Open Sans" panose="020B0606030504020204" pitchFamily="34" charset="0"/>
                        </a:rPr>
                        <a:t>Enligt generella rensningsrutiner – se tidigare sida.</a:t>
                      </a:r>
                      <a:endPar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Centrumkoordinat och avläggskoordinat finns och är obligatoriskt.</a:t>
                      </a:r>
                    </a:p>
                    <a:p>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Geografisk yta finns inte i VIOL 3. </a:t>
                      </a:r>
                    </a:p>
                  </a:txBody>
                  <a:tcPr/>
                </a:tc>
                <a:extLst>
                  <a:ext uri="{0D108BD9-81ED-4DB2-BD59-A6C34878D82A}">
                    <a16:rowId xmlns:a16="http://schemas.microsoft.com/office/drawing/2014/main" val="1056134398"/>
                  </a:ext>
                </a:extLst>
              </a:tr>
              <a:tr h="370840">
                <a:tc>
                  <a:txBody>
                    <a:bodyPr/>
                    <a:lstStyle/>
                    <a:p>
                      <a:r>
                        <a:rPr lang="sv-SE" sz="1000" b="0">
                          <a:latin typeface="Open Sans SemiBold"/>
                          <a:ea typeface="Open Sans SemiBold"/>
                          <a:cs typeface="Open Sans SemiBold"/>
                        </a:rPr>
                        <a:t>Referensnummer från tidigare anmälningar som ingår i den aktuella.</a:t>
                      </a:r>
                    </a:p>
                  </a:txBody>
                  <a:tcPr/>
                </a:tc>
                <a:tc>
                  <a:txBody>
                    <a:bodyPr/>
                    <a:lstStyle/>
                    <a:p>
                      <a:r>
                        <a:rPr lang="sv-SE" sz="1000">
                          <a:latin typeface="Open Sans"/>
                          <a:ea typeface="Open Sans"/>
                          <a:cs typeface="Open Sans"/>
                        </a:rPr>
                        <a:t>Kan hämtas från mätningarna för den råvara som tidigare mottagits och mätts in och redovisats i VIOL. </a:t>
                      </a:r>
                      <a:endParaRPr lang="sv-SE" sz="1000">
                        <a:latin typeface="Open Sans" panose="020B0606030504020204" pitchFamily="34" charset="0"/>
                        <a:ea typeface="Open Sans" panose="020B0606030504020204" pitchFamily="34" charset="0"/>
                        <a:cs typeface="Open Sans" panose="020B0606030504020204" pitchFamily="34" charset="0"/>
                      </a:endParaRPr>
                    </a:p>
                  </a:txBody>
                  <a:tcPr/>
                </a:tc>
                <a:tc>
                  <a:txBody>
                    <a:bodyPr/>
                    <a:lstStyle/>
                    <a:p>
                      <a:r>
                        <a:rPr lang="sv-SE" sz="1000">
                          <a:solidFill>
                            <a:schemeClr val="tx1"/>
                          </a:solidFill>
                          <a:latin typeface="Open Sans"/>
                          <a:ea typeface="Open Sans"/>
                          <a:cs typeface="Open Sans"/>
                        </a:rPr>
                        <a:t>Finns inte i VIOL 2.</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a:ea typeface="Open Sans"/>
                          <a:cs typeface="Open Sans"/>
                        </a:rPr>
                        <a:t>Finns inte i VIOL 3.</a:t>
                      </a:r>
                    </a:p>
                    <a:p>
                      <a:endPar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71928401"/>
                  </a:ext>
                </a:extLst>
              </a:tr>
              <a:tr h="370840">
                <a:tc>
                  <a:txBody>
                    <a:bodyPr/>
                    <a:lstStyle/>
                    <a:p>
                      <a:r>
                        <a:rPr lang="sv-SE" sz="1000" b="0">
                          <a:latin typeface="Open Sans SemiBold"/>
                          <a:ea typeface="Open Sans SemiBold"/>
                          <a:cs typeface="Open Sans SemiBold"/>
                        </a:rPr>
                        <a:t>Referensnummer – uppgift som skapas av </a:t>
                      </a:r>
                      <a:r>
                        <a:rPr lang="sv-SE" sz="1000" b="0" err="1">
                          <a:latin typeface="Open Sans SemiBold"/>
                          <a:ea typeface="Open Sans SemiBold"/>
                          <a:cs typeface="Open Sans SemiBold"/>
                        </a:rPr>
                        <a:t>Traces</a:t>
                      </a:r>
                      <a:r>
                        <a:rPr lang="sv-SE" sz="1000" b="0">
                          <a:latin typeface="Open Sans SemiBold"/>
                          <a:ea typeface="Open Sans SemiBold"/>
                          <a:cs typeface="Open Sans SemiBold"/>
                        </a:rPr>
                        <a:t>  </a:t>
                      </a:r>
                      <a:endParaRPr lang="sv-SE" sz="1000" b="0">
                        <a:latin typeface="Open Sans SemiBold" panose="020B0706030804020204" pitchFamily="34" charset="0"/>
                        <a:ea typeface="Open Sans SemiBold" panose="020B0706030804020204" pitchFamily="34" charset="0"/>
                        <a:cs typeface="Open Sans SemiBold" panose="020B0706030804020204" pitchFamily="34" charset="0"/>
                      </a:endParaRPr>
                    </a:p>
                  </a:txBody>
                  <a:tcPr/>
                </a:tc>
                <a:tc>
                  <a:txBody>
                    <a:bodyPr/>
                    <a:lstStyle/>
                    <a:p>
                      <a:r>
                        <a:rPr lang="sv-SE" sz="1000">
                          <a:latin typeface="Open Sans"/>
                          <a:ea typeface="Open Sans"/>
                          <a:cs typeface="Open Sans"/>
                        </a:rPr>
                        <a:t>Identitet på den anmälan som gjorts till EU och som kommer från </a:t>
                      </a:r>
                      <a:r>
                        <a:rPr lang="sv-SE" sz="1000" err="1">
                          <a:latin typeface="Open Sans"/>
                          <a:ea typeface="Open Sans"/>
                          <a:cs typeface="Open Sans"/>
                        </a:rPr>
                        <a:t>Traces</a:t>
                      </a:r>
                      <a:r>
                        <a:rPr lang="sv-SE" sz="1000">
                          <a:latin typeface="Open Sans"/>
                          <a:ea typeface="Open Sans"/>
                          <a:cs typeface="Open Sans"/>
                        </a:rPr>
                        <a:t>. Nödvändig referens mellan eget system och </a:t>
                      </a:r>
                      <a:r>
                        <a:rPr lang="sv-SE" sz="1000" err="1">
                          <a:latin typeface="Open Sans"/>
                          <a:ea typeface="Open Sans"/>
                          <a:cs typeface="Open Sans"/>
                        </a:rPr>
                        <a:t>Traces</a:t>
                      </a:r>
                      <a:r>
                        <a:rPr lang="sv-SE" sz="1000">
                          <a:latin typeface="Open Sans"/>
                          <a:ea typeface="Open Sans"/>
                          <a:cs typeface="Open Sans"/>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a:ea typeface="Open Sans"/>
                          <a:cs typeface="Open Sans"/>
                        </a:rPr>
                        <a:t>Kommer att finnas lagrad på virkesorder och mätresultat. </a:t>
                      </a:r>
                      <a:r>
                        <a:rPr lang="sv-SE" sz="1000">
                          <a:latin typeface="Open Sans"/>
                          <a:ea typeface="Open Sans"/>
                          <a:cs typeface="Open Sans"/>
                        </a:rPr>
                        <a:t>Enligt generella rensningsrutiner – se tidigare sida.</a:t>
                      </a:r>
                      <a:endParaRPr lang="sv-SE" sz="1000">
                        <a:solidFill>
                          <a:srgbClr val="FF0000"/>
                        </a:solidFill>
                        <a:latin typeface="Open Sans"/>
                        <a:ea typeface="Open Sans"/>
                        <a:cs typeface="Open San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sv-SE" sz="1000">
                          <a:solidFill>
                            <a:schemeClr val="tx1"/>
                          </a:solidFill>
                          <a:latin typeface="Open Sans"/>
                          <a:ea typeface="Open Sans"/>
                          <a:cs typeface="Open Sans"/>
                        </a:rPr>
                        <a:t>Kommer finnas lagrad på avtalsobjektet och mätresultatet. Avtalsobjektet kan lagras i upp till 20 år. Transaktioner ska vara tillgängliga för korrigering under 18 månader. </a:t>
                      </a:r>
                      <a:endPar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3836690367"/>
                  </a:ext>
                </a:extLst>
              </a:tr>
              <a:tr h="370840">
                <a:tc>
                  <a:txBody>
                    <a:bodyPr/>
                    <a:lstStyle/>
                    <a:p>
                      <a:r>
                        <a:rPr lang="sv-SE" sz="1000" b="0">
                          <a:latin typeface="Open Sans SemiBold"/>
                          <a:ea typeface="Open Sans SemiBold"/>
                          <a:cs typeface="Open Sans SemiBold"/>
                        </a:rPr>
                        <a:t>Verifikationsnummer - uppgift som skapas av </a:t>
                      </a:r>
                      <a:r>
                        <a:rPr lang="sv-SE" sz="1000" b="0" err="1">
                          <a:latin typeface="Open Sans SemiBold"/>
                          <a:ea typeface="Open Sans SemiBold"/>
                          <a:cs typeface="Open Sans SemiBold"/>
                        </a:rPr>
                        <a:t>Traces</a:t>
                      </a:r>
                      <a:r>
                        <a:rPr lang="sv-SE" sz="1000" b="0">
                          <a:latin typeface="Open Sans SemiBold"/>
                          <a:ea typeface="Open Sans SemiBold"/>
                          <a:cs typeface="Open Sans SemiBold"/>
                        </a:rPr>
                        <a:t> </a:t>
                      </a:r>
                      <a:endParaRPr lang="sv-SE" sz="1000" b="0">
                        <a:latin typeface="Open Sans SemiBold" panose="020B0706030804020204" pitchFamily="34" charset="0"/>
                        <a:ea typeface="Open Sans SemiBold" panose="020B0706030804020204" pitchFamily="34" charset="0"/>
                        <a:cs typeface="Open Sans SemiBold" panose="020B0706030804020204" pitchFamily="34" charset="0"/>
                      </a:endParaRPr>
                    </a:p>
                  </a:txBody>
                  <a:tcPr/>
                </a:tc>
                <a:tc>
                  <a:txBody>
                    <a:bodyPr/>
                    <a:lstStyle/>
                    <a:p>
                      <a:r>
                        <a:rPr lang="sv-SE" sz="1000">
                          <a:latin typeface="Open Sans"/>
                          <a:ea typeface="Open Sans"/>
                          <a:cs typeface="Open Sans"/>
                        </a:rPr>
                        <a:t>Kompletterande identitet som krävs för att kunna relatera tidigare anmälningar gällande tex avverkningar till en ny anmälan för produkter från industrin. Också nödvändig för att kunna se information om en tidigare anmälan i </a:t>
                      </a:r>
                      <a:r>
                        <a:rPr lang="sv-SE" sz="1000" err="1">
                          <a:latin typeface="Open Sans"/>
                          <a:ea typeface="Open Sans"/>
                          <a:cs typeface="Open Sans"/>
                        </a:rPr>
                        <a:t>Traces</a:t>
                      </a:r>
                      <a:r>
                        <a:rPr lang="sv-SE" sz="1000">
                          <a:latin typeface="Open Sans"/>
                          <a:ea typeface="Open Sans"/>
                          <a:cs typeface="Open Sans"/>
                        </a:rPr>
                        <a: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a:ea typeface="Open Sans"/>
                          <a:cs typeface="Open Sans"/>
                        </a:rPr>
                        <a:t>Kommer att finnas lagrad på virkesorder och mätresultat. </a:t>
                      </a:r>
                      <a:r>
                        <a:rPr lang="sv-SE" sz="1000">
                          <a:latin typeface="Open Sans"/>
                          <a:ea typeface="Open Sans"/>
                          <a:cs typeface="Open Sans"/>
                        </a:rPr>
                        <a:t>Enligt generella rensningsrutiner – se tidigare sida.</a:t>
                      </a:r>
                      <a:endParaRPr lang="sv-SE" sz="1000">
                        <a:solidFill>
                          <a:srgbClr val="FF0000"/>
                        </a:solidFill>
                        <a:latin typeface="Open Sans"/>
                        <a:ea typeface="Open Sans"/>
                        <a:cs typeface="Open Sans"/>
                      </a:endParaRPr>
                    </a:p>
                  </a:txBody>
                  <a:tcPr/>
                </a:tc>
                <a:tc>
                  <a:txBody>
                    <a:bodyPr/>
                    <a:lstStyle/>
                    <a:p>
                      <a:pPr marL="0" marR="0" lvl="0" indent="0" algn="l" rtl="0" eaLnBrk="1" fontAlgn="auto" latinLnBrk="0" hangingPunct="1">
                        <a:lnSpc>
                          <a:spcPct val="100000"/>
                        </a:lnSpc>
                        <a:spcBef>
                          <a:spcPts val="0"/>
                        </a:spcBef>
                        <a:spcAft>
                          <a:spcPts val="0"/>
                        </a:spcAft>
                        <a:buClrTx/>
                        <a:buSzTx/>
                        <a:buFontTx/>
                        <a:buNone/>
                      </a:pPr>
                      <a:r>
                        <a:rPr lang="sv-SE" sz="1000">
                          <a:solidFill>
                            <a:schemeClr val="tx1"/>
                          </a:solidFill>
                          <a:latin typeface="Open Sans"/>
                          <a:ea typeface="Open Sans"/>
                          <a:cs typeface="Open Sans"/>
                        </a:rPr>
                        <a:t>Kommer finnas lagrad på avtalsobjektet och mätresultatet. Avtalsobjektet kan lagras i upp till 20 år. Transaktioner ska vara tillgängliga för korrigering under 18 månader. </a:t>
                      </a:r>
                      <a:endPar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endParaRPr>
                    </a:p>
                    <a:p>
                      <a:endParaRPr lang="sv-SE" sz="1000">
                        <a:solidFill>
                          <a:srgbClr val="FF0000"/>
                        </a:solidFill>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2798530102"/>
                  </a:ext>
                </a:extLst>
              </a:tr>
              <a:tr h="370840">
                <a:tc>
                  <a:txBody>
                    <a:bodyPr/>
                    <a:lstStyle/>
                    <a:p>
                      <a:r>
                        <a:rPr lang="sv-SE" sz="1000" b="0">
                          <a:solidFill>
                            <a:schemeClr val="tx1"/>
                          </a:solidFill>
                          <a:latin typeface="Open Sans SemiBold"/>
                          <a:ea typeface="Open Sans SemiBold"/>
                          <a:cs typeface="Open Sans SemiBold"/>
                        </a:rPr>
                        <a:t>EUDR-stöd ej begärt</a:t>
                      </a:r>
                    </a:p>
                  </a:txBody>
                  <a:tcPr/>
                </a:tc>
                <a:tc>
                  <a:txBody>
                    <a:bodyPr/>
                    <a:lstStyle/>
                    <a:p>
                      <a:r>
                        <a:rPr lang="sv-SE" sz="1000">
                          <a:latin typeface="Open Sans"/>
                          <a:ea typeface="Open Sans"/>
                          <a:cs typeface="Open Sans"/>
                        </a:rPr>
                        <a:t>En uppgift som </a:t>
                      </a:r>
                      <a:r>
                        <a:rPr lang="sv-SE" sz="1000" err="1">
                          <a:latin typeface="Open Sans"/>
                          <a:ea typeface="Open Sans"/>
                          <a:cs typeface="Open Sans"/>
                        </a:rPr>
                        <a:t>Biometria</a:t>
                      </a:r>
                      <a:r>
                        <a:rPr lang="sv-SE" sz="1000">
                          <a:latin typeface="Open Sans"/>
                          <a:ea typeface="Open Sans"/>
                          <a:cs typeface="Open Sans"/>
                        </a:rPr>
                        <a:t> valt att lägga till i VIOL för att förtydliga om referens och verifikationsnummer har utelämnats medvetet i VIOL-system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a:ea typeface="Open Sans"/>
                          <a:cs typeface="Open Sans"/>
                        </a:rPr>
                        <a:t>Kommer att finnas lagrad på virkesorder och mätresultat. </a:t>
                      </a:r>
                      <a:r>
                        <a:rPr lang="sv-SE" sz="1000">
                          <a:latin typeface="Open Sans"/>
                          <a:ea typeface="Open Sans"/>
                          <a:cs typeface="Open Sans"/>
                        </a:rPr>
                        <a:t>Enligt generella rensningsrutiner – se tidigare sida.</a:t>
                      </a:r>
                      <a:endParaRPr lang="sv-SE" sz="1000">
                        <a:solidFill>
                          <a:schemeClr val="tx1"/>
                        </a:solidFill>
                        <a:latin typeface="Open Sans"/>
                        <a:ea typeface="Open Sans"/>
                        <a:cs typeface="Open Sans"/>
                      </a:endParaRP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Kommer finnas lagrad på avtalsobjektet och mätresultatet. Avtalsobjektet kan lagras i upp till 20 år. Transaktioner ska vara tillgängliga för korrigering under 18 månader. </a:t>
                      </a:r>
                    </a:p>
                  </a:txBody>
                  <a:tcPr/>
                </a:tc>
                <a:extLst>
                  <a:ext uri="{0D108BD9-81ED-4DB2-BD59-A6C34878D82A}">
                    <a16:rowId xmlns:a16="http://schemas.microsoft.com/office/drawing/2014/main" val="2457904049"/>
                  </a:ext>
                </a:extLst>
              </a:tr>
            </a:tbl>
          </a:graphicData>
        </a:graphic>
      </p:graphicFrame>
    </p:spTree>
    <p:extLst>
      <p:ext uri="{BB962C8B-B14F-4D97-AF65-F5344CB8AC3E}">
        <p14:creationId xmlns:p14="http://schemas.microsoft.com/office/powerpoint/2010/main" val="1487094880"/>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C14F559F-0E81-546C-3434-AF885B8D761A}"/>
              </a:ext>
            </a:extLst>
          </p:cNvPr>
          <p:cNvSpPr>
            <a:spLocks noGrp="1"/>
          </p:cNvSpPr>
          <p:nvPr>
            <p:ph type="title"/>
          </p:nvPr>
        </p:nvSpPr>
        <p:spPr>
          <a:xfrm>
            <a:off x="838202" y="-114269"/>
            <a:ext cx="10515600" cy="1325563"/>
          </a:xfrm>
        </p:spPr>
        <p:txBody>
          <a:bodyPr>
            <a:normAutofit/>
          </a:bodyPr>
          <a:lstStyle/>
          <a:p>
            <a:r>
              <a:rPr lang="sv-SE" sz="1800" b="0" spc="0"/>
              <a:t>VERKSAMHETSUTÖVAREN SKA </a:t>
            </a:r>
            <a:r>
              <a:rPr lang="sv-SE" sz="1800" b="0" spc="0">
                <a:solidFill>
                  <a:srgbClr val="007B4F"/>
                </a:solidFill>
                <a:latin typeface="Open Sans SemiBold" panose="020B0706030804020204" pitchFamily="34" charset="0"/>
                <a:ea typeface="Open Sans SemiBold" panose="020B0706030804020204" pitchFamily="34" charset="0"/>
                <a:cs typeface="Open Sans SemiBold" panose="020B0706030804020204" pitchFamily="34" charset="0"/>
              </a:rPr>
              <a:t>UTÖVER</a:t>
            </a:r>
            <a:r>
              <a:rPr lang="sv-SE" sz="1800" b="0" spc="0"/>
              <a:t> DEN INFORMATION SOM </a:t>
            </a:r>
            <a:r>
              <a:rPr lang="sv-SE" sz="1800" b="0"/>
              <a:t>ANGES I ANMÄLAN </a:t>
            </a:r>
            <a:r>
              <a:rPr lang="sv-SE" sz="1800" b="0" spc="0"/>
              <a:t>SPARA FÖLJANDE INFORMATION I EGET SYSTEM:</a:t>
            </a:r>
          </a:p>
        </p:txBody>
      </p:sp>
      <p:graphicFrame>
        <p:nvGraphicFramePr>
          <p:cNvPr id="6" name="Tabell 5">
            <a:extLst>
              <a:ext uri="{FF2B5EF4-FFF2-40B4-BE49-F238E27FC236}">
                <a16:creationId xmlns:a16="http://schemas.microsoft.com/office/drawing/2014/main" id="{67B00579-BC78-B3E1-D8A7-CC4F18D39247}"/>
              </a:ext>
            </a:extLst>
          </p:cNvPr>
          <p:cNvGraphicFramePr>
            <a:graphicFrameLocks noGrp="1"/>
          </p:cNvGraphicFramePr>
          <p:nvPr/>
        </p:nvGraphicFramePr>
        <p:xfrm>
          <a:off x="838202" y="862280"/>
          <a:ext cx="10515602" cy="5882640"/>
        </p:xfrm>
        <a:graphic>
          <a:graphicData uri="http://schemas.openxmlformats.org/drawingml/2006/table">
            <a:tbl>
              <a:tblPr firstRow="1" bandRow="1">
                <a:tableStyleId>{5C22544A-7EE6-4342-B048-85BDC9FD1C3A}</a:tableStyleId>
              </a:tblPr>
              <a:tblGrid>
                <a:gridCol w="2868047">
                  <a:extLst>
                    <a:ext uri="{9D8B030D-6E8A-4147-A177-3AD203B41FA5}">
                      <a16:colId xmlns:a16="http://schemas.microsoft.com/office/drawing/2014/main" val="3206728520"/>
                    </a:ext>
                  </a:extLst>
                </a:gridCol>
                <a:gridCol w="2549185">
                  <a:extLst>
                    <a:ext uri="{9D8B030D-6E8A-4147-A177-3AD203B41FA5}">
                      <a16:colId xmlns:a16="http://schemas.microsoft.com/office/drawing/2014/main" val="3856281322"/>
                    </a:ext>
                  </a:extLst>
                </a:gridCol>
                <a:gridCol w="2549185">
                  <a:extLst>
                    <a:ext uri="{9D8B030D-6E8A-4147-A177-3AD203B41FA5}">
                      <a16:colId xmlns:a16="http://schemas.microsoft.com/office/drawing/2014/main" val="334143379"/>
                    </a:ext>
                  </a:extLst>
                </a:gridCol>
                <a:gridCol w="2549185">
                  <a:extLst>
                    <a:ext uri="{9D8B030D-6E8A-4147-A177-3AD203B41FA5}">
                      <a16:colId xmlns:a16="http://schemas.microsoft.com/office/drawing/2014/main" val="2958600830"/>
                    </a:ext>
                  </a:extLst>
                </a:gridCol>
              </a:tblGrid>
              <a:tr h="370840">
                <a:tc>
                  <a:txBody>
                    <a:bodyPr/>
                    <a:lstStyle/>
                    <a:p>
                      <a:pPr>
                        <a:spcBef>
                          <a:spcPts val="600"/>
                        </a:spcBef>
                      </a:pPr>
                      <a:r>
                        <a:rPr lang="sv-SE" sz="1000">
                          <a:latin typeface="Open Sans" panose="020B0606030504020204" pitchFamily="34" charset="0"/>
                          <a:ea typeface="Open Sans" panose="020B0606030504020204" pitchFamily="34" charset="0"/>
                          <a:cs typeface="Open Sans" panose="020B0606030504020204" pitchFamily="34" charset="0"/>
                        </a:rPr>
                        <a:t>Information</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Kommentar</a:t>
                      </a:r>
                    </a:p>
                  </a:txBody>
                  <a:tcPr/>
                </a:tc>
                <a:tc>
                  <a:txBody>
                    <a:bodyPr/>
                    <a:lstStyle/>
                    <a:p>
                      <a:r>
                        <a:rPr lang="sv-SE" sz="1000">
                          <a:latin typeface="+mj-lt"/>
                        </a:rPr>
                        <a:t>Lagras uppgiften i VIOL2 och hur länge?</a:t>
                      </a:r>
                    </a:p>
                  </a:txBody>
                  <a:tcPr/>
                </a:tc>
                <a:tc>
                  <a:txBody>
                    <a:bodyPr/>
                    <a:lstStyle/>
                    <a:p>
                      <a:r>
                        <a:rPr lang="sv-SE" sz="1000">
                          <a:latin typeface="+mj-lt"/>
                        </a:rPr>
                        <a:t>VIOL3?</a:t>
                      </a:r>
                    </a:p>
                  </a:txBody>
                  <a:tcPr/>
                </a:tc>
                <a:extLst>
                  <a:ext uri="{0D108BD9-81ED-4DB2-BD59-A6C34878D82A}">
                    <a16:rowId xmlns:a16="http://schemas.microsoft.com/office/drawing/2014/main" val="1063092717"/>
                  </a:ext>
                </a:extLst>
              </a:tr>
              <a:tr h="370840">
                <a:tc>
                  <a:txBody>
                    <a:bodyPr/>
                    <a:lstStyle/>
                    <a:p>
                      <a:pPr>
                        <a:spcBef>
                          <a:spcPts val="600"/>
                        </a:spcBef>
                      </a:pPr>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Tidsperiod under vilken produktionen ägt rum</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Flera olika uppgifter finns i VIOL som kan svara mot informationskravet när det gäller avverkningstidpunkten. När det gäller produktion i industrin finns ingen sådan information i VIOL. </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Finns i VIOL 2 som fällningsvecka i virkesorder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Skördar och skotarfiler innehåller start och slutdatum för avverkningen.</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Produktionsmätningarna innehåller ett mätdatum som är detsamma som insändningsdatum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a:solidFill>
                          <a:srgbClr val="FF0000"/>
                        </a:solidFill>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Produktionsmätningarna lagras minst 27 månader. Produktionsfilerna sparas drygt 3 år (1200 dagar) med kontinuerlig rensning dygnsvis. </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Planerat startdatum avverkning finns på avtalsobjektet.</a:t>
                      </a:r>
                    </a:p>
                    <a:p>
                      <a:endParaRPr lang="sv-SE" sz="1000">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Skördar och skotarfiler innehåller start och slutdatum för avverknin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b="1">
                        <a:latin typeface="Open Sans" panose="020B0606030504020204" pitchFamily="34" charset="0"/>
                        <a:ea typeface="Open Sans" panose="020B0606030504020204" pitchFamily="34" charset="0"/>
                        <a:cs typeface="Open Sans" panose="020B0606030504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Produktionsresultaten innehåller ett mätdatum som är detsamma som insändningsdatumet.</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000" b="1">
                        <a:latin typeface="Open Sans" panose="020B0606030504020204" pitchFamily="34" charset="0"/>
                        <a:ea typeface="Open Sans" panose="020B0606030504020204" pitchFamily="34" charset="0"/>
                        <a:cs typeface="Open Sans" panose="020B0606030504020204" pitchFamily="34" charset="0"/>
                      </a:endParaRPr>
                    </a:p>
                  </a:txBody>
                  <a:tcPr/>
                </a:tc>
                <a:extLst>
                  <a:ext uri="{0D108BD9-81ED-4DB2-BD59-A6C34878D82A}">
                    <a16:rowId xmlns:a16="http://schemas.microsoft.com/office/drawing/2014/main" val="1522954889"/>
                  </a:ext>
                </a:extLst>
              </a:tr>
              <a:tr h="370840">
                <a:tc>
                  <a:txBody>
                    <a:bodyPr/>
                    <a:lstStyle/>
                    <a:p>
                      <a:pPr>
                        <a:spcBef>
                          <a:spcPts val="600"/>
                        </a:spcBef>
                      </a:pPr>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sz="1000" b="0" u="sng">
                          <a:latin typeface="Open Sans SemiBold" panose="020B0706030804020204" pitchFamily="34" charset="0"/>
                          <a:ea typeface="Open Sans SemiBold" panose="020B0706030804020204" pitchFamily="34" charset="0"/>
                          <a:cs typeface="Open Sans SemiBold" panose="020B0706030804020204" pitchFamily="34" charset="0"/>
                        </a:rPr>
                        <a:t>kommer från</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Säljaren i första affärsledet.</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VIOL2 erbjuder möjlighet att ange namn och adress för en aktör – ej E-postadress.</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Aktörsregister i VIOL 3 innehåller en adress som hämtas från SPAR. Ingen e-postadress.</a:t>
                      </a:r>
                    </a:p>
                  </a:txBody>
                  <a:tcPr/>
                </a:tc>
                <a:extLst>
                  <a:ext uri="{0D108BD9-81ED-4DB2-BD59-A6C34878D82A}">
                    <a16:rowId xmlns:a16="http://schemas.microsoft.com/office/drawing/2014/main" val="1056134398"/>
                  </a:ext>
                </a:extLst>
              </a:tr>
              <a:tr h="370840">
                <a:tc>
                  <a:txBody>
                    <a:bodyPr/>
                    <a:lstStyle/>
                    <a:p>
                      <a:pPr marL="0" marR="0" lvl="0" indent="0" algn="l" defTabSz="914400" rtl="0" eaLnBrk="1" fontAlgn="auto" latinLnBrk="0" hangingPunct="1">
                        <a:lnSpc>
                          <a:spcPct val="100000"/>
                        </a:lnSpc>
                        <a:spcBef>
                          <a:spcPts val="600"/>
                        </a:spcBef>
                        <a:spcAft>
                          <a:spcPts val="0"/>
                        </a:spcAft>
                        <a:buClrTx/>
                        <a:buSzTx/>
                        <a:buFontTx/>
                        <a:buNone/>
                        <a:tabLst/>
                        <a:defRPr/>
                      </a:pPr>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Namn, adress och e-postadress för den person eller företag som produkterna </a:t>
                      </a:r>
                      <a:r>
                        <a:rPr lang="sv-SE" sz="1000" b="0" u="sng">
                          <a:latin typeface="Open Sans SemiBold" panose="020B0706030804020204" pitchFamily="34" charset="0"/>
                          <a:ea typeface="Open Sans SemiBold" panose="020B0706030804020204" pitchFamily="34" charset="0"/>
                          <a:cs typeface="Open Sans SemiBold" panose="020B0706030804020204" pitchFamily="34" charset="0"/>
                        </a:rPr>
                        <a:t>levererats til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Lämpligen mottagaren dvs köparen i sista affärsledet. Hela affärsledskedjan finns också i VIOL</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solidFill>
                            <a:schemeClr val="tx1"/>
                          </a:solidFill>
                          <a:latin typeface="Open Sans" panose="020B0606030504020204" pitchFamily="34" charset="0"/>
                          <a:ea typeface="Open Sans" panose="020B0606030504020204" pitchFamily="34" charset="0"/>
                          <a:cs typeface="Open Sans" panose="020B0606030504020204" pitchFamily="34" charset="0"/>
                        </a:rPr>
                        <a:t>VIOL2 erbjuder möjlighet att ange namn och adress för en aktör – ej E-postadress.</a:t>
                      </a:r>
                    </a:p>
                  </a:txBody>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000">
                          <a:latin typeface="Open Sans" panose="020B0606030504020204" pitchFamily="34" charset="0"/>
                          <a:ea typeface="Open Sans" panose="020B0606030504020204" pitchFamily="34" charset="0"/>
                          <a:cs typeface="Open Sans" panose="020B0606030504020204" pitchFamily="34" charset="0"/>
                        </a:rPr>
                        <a:t>Aktörsregister i VIOL 3 innehåller en adress. Den uppgiften hämtas inte från SPAR.</a:t>
                      </a:r>
                    </a:p>
                  </a:txBody>
                  <a:tcPr/>
                </a:tc>
                <a:extLst>
                  <a:ext uri="{0D108BD9-81ED-4DB2-BD59-A6C34878D82A}">
                    <a16:rowId xmlns:a16="http://schemas.microsoft.com/office/drawing/2014/main" val="71928401"/>
                  </a:ext>
                </a:extLst>
              </a:tr>
              <a:tr h="370840">
                <a:tc>
                  <a:txBody>
                    <a:bodyPr/>
                    <a:lstStyle/>
                    <a:p>
                      <a:pPr>
                        <a:spcBef>
                          <a:spcPts val="600"/>
                        </a:spcBef>
                      </a:pPr>
                      <a:r>
                        <a:rPr lang="sv-SE" sz="1000" b="0" kern="1200" noProof="0">
                          <a:solidFill>
                            <a:schemeClr val="dk1"/>
                          </a:solidFill>
                          <a:latin typeface="Open Sans SemiBold" panose="020B0706030804020204" pitchFamily="34" charset="0"/>
                          <a:ea typeface="Open Sans SemiBold" panose="020B0706030804020204" pitchFamily="34" charset="0"/>
                          <a:cs typeface="Open Sans SemiBold" panose="020B0706030804020204" pitchFamily="34" charset="0"/>
                        </a:rPr>
                        <a:t>Tillräcklig, entydig och verifierbar information om att produkterna är avskogningsfria, har producerats i enlighet med nationell lagstiftning, inkluderat överenskommelser om rätten att använda marken</a:t>
                      </a:r>
                    </a:p>
                  </a:txBody>
                  <a:tcPr/>
                </a:tc>
                <a:tc>
                  <a:txBody>
                    <a:bodyPr/>
                    <a:lstStyle/>
                    <a:p>
                      <a:r>
                        <a:rPr lang="sv-SE" sz="1000" b="1">
                          <a:latin typeface="Open Sans" panose="020B0606030504020204" pitchFamily="34" charset="0"/>
                          <a:ea typeface="Open Sans" panose="020B0606030504020204" pitchFamily="34" charset="0"/>
                          <a:cs typeface="Open Sans" panose="020B0606030504020204" pitchFamily="34" charset="0"/>
                        </a:rPr>
                        <a:t>Informationen finns inte i VIOL.</a:t>
                      </a:r>
                      <a:r>
                        <a:rPr lang="sv-SE" sz="1000">
                          <a:latin typeface="Open Sans" panose="020B0606030504020204" pitchFamily="34" charset="0"/>
                          <a:ea typeface="Open Sans" panose="020B0606030504020204" pitchFamily="34" charset="0"/>
                          <a:cs typeface="Open Sans" panose="020B0606030504020204" pitchFamily="34" charset="0"/>
                        </a:rPr>
                        <a:t> Skogsstyrelsen och EU måste förtydliga exakt vilka krav som gäller. </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Finns ej i VIOL</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Finns ej i VIOL</a:t>
                      </a:r>
                    </a:p>
                  </a:txBody>
                  <a:tcPr/>
                </a:tc>
                <a:extLst>
                  <a:ext uri="{0D108BD9-81ED-4DB2-BD59-A6C34878D82A}">
                    <a16:rowId xmlns:a16="http://schemas.microsoft.com/office/drawing/2014/main" val="4039551600"/>
                  </a:ext>
                </a:extLst>
              </a:tr>
              <a:tr h="370840">
                <a:tc>
                  <a:txBody>
                    <a:bodyPr/>
                    <a:lstStyle/>
                    <a:p>
                      <a:pPr>
                        <a:spcBef>
                          <a:spcPts val="600"/>
                        </a:spcBef>
                      </a:pPr>
                      <a:r>
                        <a:rPr lang="sv-SE" sz="1000" b="0">
                          <a:latin typeface="Open Sans SemiBold" panose="020B0706030804020204" pitchFamily="34" charset="0"/>
                          <a:ea typeface="Open Sans SemiBold" panose="020B0706030804020204" pitchFamily="34" charset="0"/>
                          <a:cs typeface="Open Sans SemiBold" panose="020B0706030804020204" pitchFamily="34" charset="0"/>
                        </a:rPr>
                        <a:t>Riskbedömning – OM produkterna kommer från ett ej-lågriskland</a:t>
                      </a:r>
                    </a:p>
                  </a:txBody>
                  <a:tcPr/>
                </a:tc>
                <a:tc>
                  <a:txBody>
                    <a:bodyPr/>
                    <a:lstStyle/>
                    <a:p>
                      <a:r>
                        <a:rPr lang="sv-SE" sz="1000" b="1">
                          <a:latin typeface="Open Sans" panose="020B0606030504020204" pitchFamily="34" charset="0"/>
                          <a:ea typeface="Open Sans" panose="020B0606030504020204" pitchFamily="34" charset="0"/>
                          <a:cs typeface="Open Sans" panose="020B0606030504020204" pitchFamily="34" charset="0"/>
                        </a:rPr>
                        <a:t>Informationen finns inte i VIOL. </a:t>
                      </a:r>
                      <a:r>
                        <a:rPr lang="sv-SE" sz="1000">
                          <a:latin typeface="Open Sans" panose="020B0606030504020204" pitchFamily="34" charset="0"/>
                          <a:ea typeface="Open Sans" panose="020B0606030504020204" pitchFamily="34" charset="0"/>
                          <a:cs typeface="Open Sans" panose="020B0606030504020204" pitchFamily="34" charset="0"/>
                        </a:rPr>
                        <a:t>Handlar om att den som exporterar eller sätter produkten på marknaden måste göra en relevant riskbedömning utifrån särskilda krav. Skogsstyrelsen och EU måste förtydliga exakt vilka krav som gäller. </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Finns ej i VIOL</a:t>
                      </a:r>
                    </a:p>
                  </a:txBody>
                  <a:tcPr/>
                </a:tc>
                <a:tc>
                  <a:txBody>
                    <a:bodyPr/>
                    <a:lstStyle/>
                    <a:p>
                      <a:r>
                        <a:rPr lang="sv-SE" sz="1000">
                          <a:latin typeface="Open Sans" panose="020B0606030504020204" pitchFamily="34" charset="0"/>
                          <a:ea typeface="Open Sans" panose="020B0606030504020204" pitchFamily="34" charset="0"/>
                          <a:cs typeface="Open Sans" panose="020B0606030504020204" pitchFamily="34" charset="0"/>
                        </a:rPr>
                        <a:t>Finns ej i VIOL</a:t>
                      </a:r>
                    </a:p>
                  </a:txBody>
                  <a:tcPr/>
                </a:tc>
                <a:extLst>
                  <a:ext uri="{0D108BD9-81ED-4DB2-BD59-A6C34878D82A}">
                    <a16:rowId xmlns:a16="http://schemas.microsoft.com/office/drawing/2014/main" val="3388648248"/>
                  </a:ext>
                </a:extLst>
              </a:tr>
            </a:tbl>
          </a:graphicData>
        </a:graphic>
      </p:graphicFrame>
    </p:spTree>
    <p:extLst>
      <p:ext uri="{BB962C8B-B14F-4D97-AF65-F5344CB8AC3E}">
        <p14:creationId xmlns:p14="http://schemas.microsoft.com/office/powerpoint/2010/main" val="2227258721"/>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95B7FAD1-7EFC-A58A-A073-2474F263ABDD}"/>
              </a:ext>
            </a:extLst>
          </p:cNvPr>
          <p:cNvSpPr>
            <a:spLocks noGrp="1"/>
          </p:cNvSpPr>
          <p:nvPr>
            <p:ph idx="1"/>
          </p:nvPr>
        </p:nvSpPr>
        <p:spPr/>
        <p:txBody>
          <a:bodyPr/>
          <a:lstStyle/>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I Sverige är Skogsstyrelsen den behöriga myndighet som ska ansvara för att Avskogningsförordningen följs. SKS information om förordningen finns här: </a:t>
            </a:r>
            <a:r>
              <a:rPr lang="sv-SE" u="sng" kern="100">
                <a:solidFill>
                  <a:srgbClr val="0000FF"/>
                </a:solidFill>
                <a:latin typeface="+mn-lt"/>
                <a:cs typeface="Times New Roman" panose="02020603050405020304" pitchFamily="18" charset="0"/>
                <a:hlinkClick r:id="rId2">
                  <a:extLst>
                    <a:ext uri="{A12FA001-AC4F-418D-AE19-62706E023703}">
                      <ahyp:hlinkClr xmlns:ahyp="http://schemas.microsoft.com/office/drawing/2018/hyperlinkcolor" val="tx"/>
                    </a:ext>
                  </a:extLst>
                </a:hlinkClick>
              </a:rPr>
              <a:t>Avskogningsförordningen – Skogsstyrelsen</a:t>
            </a:r>
            <a:endParaRPr lang="sv-SE" kern="100">
              <a:effectLst/>
              <a:latin typeface="+mn-lt"/>
              <a:ea typeface="Aptos" panose="020B0004020202020204" pitchFamily="34" charset="0"/>
              <a:cs typeface="Times New Roman" panose="02020603050405020304" pitchFamily="18" charset="0"/>
            </a:endParaRPr>
          </a:p>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EU har publicerat Avskogningsförordningen här: </a:t>
            </a:r>
            <a:r>
              <a:rPr lang="sv-SE" u="sng" kern="100">
                <a:solidFill>
                  <a:srgbClr val="0000FF"/>
                </a:solidFill>
                <a:latin typeface="+mn-lt"/>
                <a:cs typeface="Times New Roman" panose="02020603050405020304" pitchFamily="18" charset="0"/>
                <a:hlinkClick r:id="rId3">
                  <a:extLst>
                    <a:ext uri="{A12FA001-AC4F-418D-AE19-62706E023703}">
                      <ahyp:hlinkClr xmlns:ahyp="http://schemas.microsoft.com/office/drawing/2018/hyperlinkcolor" val="tx"/>
                    </a:ext>
                  </a:extLst>
                </a:hlinkClick>
              </a:rPr>
              <a:t>Europaparlamentets och rådets förordning (EU) 2023/1115 av den 31 maj 2023 om tillhandahållande på unionsmarknaden och export från unionen av vissa råvaror och produkter som är förknippade med avskogning och skogsförstörelse och om upphävande av förordning (EU) nr 995/2010 </a:t>
            </a:r>
            <a:endParaRPr lang="sv-SE" u="sng" kern="100">
              <a:solidFill>
                <a:srgbClr val="0000FF"/>
              </a:solidFill>
              <a:latin typeface="+mn-lt"/>
              <a:cs typeface="Times New Roman" panose="02020603050405020304" pitchFamily="18" charset="0"/>
            </a:endParaRPr>
          </a:p>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Här kan du hitta mer information från EU: </a:t>
            </a:r>
            <a:r>
              <a:rPr lang="sv-SE" u="sng" kern="100">
                <a:solidFill>
                  <a:srgbClr val="0000FF"/>
                </a:solidFill>
                <a:latin typeface="+mn-lt"/>
                <a:cs typeface="Times New Roman" panose="02020603050405020304" pitchFamily="18" charset="0"/>
                <a:hlinkClick r:id="rId4">
                  <a:extLst>
                    <a:ext uri="{A12FA001-AC4F-418D-AE19-62706E023703}">
                      <ahyp:hlinkClr xmlns:ahyp="http://schemas.microsoft.com/office/drawing/2018/hyperlinkcolor" val="tx"/>
                    </a:ext>
                  </a:extLst>
                </a:hlinkClick>
              </a:rPr>
              <a:t>https://green-business.ec.europa.eu/deforestation-regulation-implementation_en</a:t>
            </a:r>
            <a:endParaRPr lang="sv-SE" kern="100">
              <a:effectLst/>
              <a:latin typeface="+mn-lt"/>
              <a:ea typeface="Aptos" panose="020B0004020202020204" pitchFamily="34" charset="0"/>
              <a:cs typeface="Times New Roman" panose="02020603050405020304" pitchFamily="18" charset="0"/>
            </a:endParaRPr>
          </a:p>
          <a:p>
            <a:pPr marL="4762" indent="0">
              <a:buNone/>
            </a:pPr>
            <a:endParaRPr lang="sv-SE" sz="1400">
              <a:latin typeface="+mn-lt"/>
            </a:endParaRPr>
          </a:p>
        </p:txBody>
      </p:sp>
      <p:sp>
        <p:nvSpPr>
          <p:cNvPr id="5" name="Rubrik 4">
            <a:extLst>
              <a:ext uri="{FF2B5EF4-FFF2-40B4-BE49-F238E27FC236}">
                <a16:creationId xmlns:a16="http://schemas.microsoft.com/office/drawing/2014/main" id="{07C84C5A-969C-651C-40C1-CC701195FB76}"/>
              </a:ext>
            </a:extLst>
          </p:cNvPr>
          <p:cNvSpPr>
            <a:spLocks noGrp="1"/>
          </p:cNvSpPr>
          <p:nvPr>
            <p:ph type="title"/>
          </p:nvPr>
        </p:nvSpPr>
        <p:spPr/>
        <p:txBody>
          <a:bodyPr/>
          <a:lstStyle/>
          <a:p>
            <a:r>
              <a:rPr lang="sv-SE"/>
              <a:t>NÅGRA BRA LÄNKAR TILL MER INFORMATION</a:t>
            </a:r>
          </a:p>
        </p:txBody>
      </p:sp>
    </p:spTree>
    <p:extLst>
      <p:ext uri="{BB962C8B-B14F-4D97-AF65-F5344CB8AC3E}">
        <p14:creationId xmlns:p14="http://schemas.microsoft.com/office/powerpoint/2010/main" val="2556385695"/>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ubrik 5">
            <a:extLst>
              <a:ext uri="{FF2B5EF4-FFF2-40B4-BE49-F238E27FC236}">
                <a16:creationId xmlns:a16="http://schemas.microsoft.com/office/drawing/2014/main" id="{9DA89B62-9E6E-E896-F4ED-3052CB3A11AB}"/>
              </a:ext>
            </a:extLst>
          </p:cNvPr>
          <p:cNvSpPr>
            <a:spLocks noGrp="1"/>
          </p:cNvSpPr>
          <p:nvPr>
            <p:ph type="title"/>
          </p:nvPr>
        </p:nvSpPr>
        <p:spPr/>
        <p:txBody>
          <a:bodyPr/>
          <a:lstStyle/>
          <a:p>
            <a:r>
              <a:rPr lang="sv-SE"/>
              <a:t>Paus 15 min</a:t>
            </a:r>
          </a:p>
        </p:txBody>
      </p:sp>
    </p:spTree>
    <p:extLst>
      <p:ext uri="{BB962C8B-B14F-4D97-AF65-F5344CB8AC3E}">
        <p14:creationId xmlns:p14="http://schemas.microsoft.com/office/powerpoint/2010/main" val="57922843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3">
            <a:extLst>
              <a:ext uri="{FF2B5EF4-FFF2-40B4-BE49-F238E27FC236}">
                <a16:creationId xmlns:a16="http://schemas.microsoft.com/office/drawing/2014/main" id="{CA5DEF00-5540-6D55-0489-E4316A065FB4}"/>
              </a:ext>
            </a:extLst>
          </p:cNvPr>
          <p:cNvSpPr>
            <a:spLocks noGrp="1"/>
          </p:cNvSpPr>
          <p:nvPr>
            <p:ph type="title"/>
          </p:nvPr>
        </p:nvSpPr>
        <p:spPr/>
        <p:txBody>
          <a:bodyPr/>
          <a:lstStyle/>
          <a:p>
            <a:r>
              <a:rPr lang="sv-SE" spc="0"/>
              <a:t>AVSKOGNINGSFÖRORDNINGEN HAR 8 FUNDAMENT</a:t>
            </a:r>
          </a:p>
        </p:txBody>
      </p:sp>
      <p:graphicFrame>
        <p:nvGraphicFramePr>
          <p:cNvPr id="5" name="Diagram 4">
            <a:extLst>
              <a:ext uri="{FF2B5EF4-FFF2-40B4-BE49-F238E27FC236}">
                <a16:creationId xmlns:a16="http://schemas.microsoft.com/office/drawing/2014/main" id="{D30ED36A-D4FC-76E5-EA20-D6CE533DDF13}"/>
              </a:ext>
            </a:extLst>
          </p:cNvPr>
          <p:cNvGraphicFramePr/>
          <p:nvPr>
            <p:extLst>
              <p:ext uri="{D42A27DB-BD31-4B8C-83A1-F6EECF244321}">
                <p14:modId xmlns:p14="http://schemas.microsoft.com/office/powerpoint/2010/main" val="1371245126"/>
              </p:ext>
            </p:extLst>
          </p:nvPr>
        </p:nvGraphicFramePr>
        <p:xfrm>
          <a:off x="1795427" y="1414984"/>
          <a:ext cx="7891215" cy="5246728"/>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37166949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95B7FAD1-7EFC-A58A-A073-2474F263ABDD}"/>
              </a:ext>
            </a:extLst>
          </p:cNvPr>
          <p:cNvSpPr>
            <a:spLocks noGrp="1"/>
          </p:cNvSpPr>
          <p:nvPr>
            <p:ph idx="1"/>
          </p:nvPr>
        </p:nvSpPr>
        <p:spPr/>
        <p:txBody>
          <a:bodyPr/>
          <a:lstStyle/>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I Sverige är Skogsstyrelsen den behöriga myndighet som ska ansvara för att Avskogningsförordningen följs. SKS information om förordningen finns här: </a:t>
            </a:r>
            <a:r>
              <a:rPr lang="sv-SE" u="sng" kern="100">
                <a:solidFill>
                  <a:srgbClr val="0000FF"/>
                </a:solidFill>
                <a:latin typeface="+mn-lt"/>
                <a:cs typeface="Times New Roman" panose="02020603050405020304" pitchFamily="18" charset="0"/>
                <a:hlinkClick r:id="rId2">
                  <a:extLst>
                    <a:ext uri="{A12FA001-AC4F-418D-AE19-62706E023703}">
                      <ahyp:hlinkClr xmlns:ahyp="http://schemas.microsoft.com/office/drawing/2018/hyperlinkcolor" val="tx"/>
                    </a:ext>
                  </a:extLst>
                </a:hlinkClick>
              </a:rPr>
              <a:t>Avskogningsförordningen – Skogsstyrelsen</a:t>
            </a:r>
            <a:endParaRPr lang="sv-SE" u="sng" kern="100">
              <a:solidFill>
                <a:srgbClr val="0000FF"/>
              </a:solidFill>
              <a:latin typeface="+mn-lt"/>
              <a:cs typeface="Times New Roman" panose="02020603050405020304" pitchFamily="18" charset="0"/>
            </a:endParaRPr>
          </a:p>
          <a:p>
            <a:pPr>
              <a:lnSpc>
                <a:spcPct val="107000"/>
              </a:lnSpc>
              <a:spcAft>
                <a:spcPts val="800"/>
              </a:spcAft>
            </a:pPr>
            <a:r>
              <a:rPr lang="sv-SE" kern="100">
                <a:latin typeface="+mn-lt"/>
                <a:cs typeface="Times New Roman" panose="02020603050405020304" pitchFamily="18" charset="0"/>
              </a:rPr>
              <a:t>Biometria informerar om och tar ansvar för ny tillämpning i VIOL-systemet</a:t>
            </a:r>
          </a:p>
          <a:p>
            <a:pPr marL="4762" indent="0">
              <a:buNone/>
            </a:pPr>
            <a:endParaRPr lang="sv-SE" sz="1400">
              <a:latin typeface="+mn-lt"/>
            </a:endParaRPr>
          </a:p>
        </p:txBody>
      </p:sp>
      <p:sp>
        <p:nvSpPr>
          <p:cNvPr id="5" name="Rubrik 4">
            <a:extLst>
              <a:ext uri="{FF2B5EF4-FFF2-40B4-BE49-F238E27FC236}">
                <a16:creationId xmlns:a16="http://schemas.microsoft.com/office/drawing/2014/main" id="{07C84C5A-969C-651C-40C1-CC701195FB76}"/>
              </a:ext>
            </a:extLst>
          </p:cNvPr>
          <p:cNvSpPr>
            <a:spLocks noGrp="1"/>
          </p:cNvSpPr>
          <p:nvPr>
            <p:ph type="title"/>
          </p:nvPr>
        </p:nvSpPr>
        <p:spPr>
          <a:xfrm>
            <a:off x="838200" y="270302"/>
            <a:ext cx="10515600" cy="895285"/>
          </a:xfrm>
        </p:spPr>
        <p:txBody>
          <a:bodyPr/>
          <a:lstStyle/>
          <a:p>
            <a:r>
              <a:rPr lang="sv-SE"/>
              <a:t>SKOGSSTYRELSEN ÄR UTPEKAD ANSVARIG MYNDIGHET SOM MÅSTE </a:t>
            </a:r>
            <a:br>
              <a:rPr lang="sv-SE"/>
            </a:br>
            <a:r>
              <a:rPr lang="sv-SE"/>
              <a:t>SVARA PÅ VAD SOM GÄLLER – BIOMETRIA HAR INTE DET ANSVARET</a:t>
            </a:r>
          </a:p>
        </p:txBody>
      </p:sp>
    </p:spTree>
    <p:extLst>
      <p:ext uri="{BB962C8B-B14F-4D97-AF65-F5344CB8AC3E}">
        <p14:creationId xmlns:p14="http://schemas.microsoft.com/office/powerpoint/2010/main" val="26810266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Platshållare för innehåll 5">
            <a:extLst>
              <a:ext uri="{FF2B5EF4-FFF2-40B4-BE49-F238E27FC236}">
                <a16:creationId xmlns:a16="http://schemas.microsoft.com/office/drawing/2014/main" id="{95B7FAD1-7EFC-A58A-A073-2474F263ABDD}"/>
              </a:ext>
            </a:extLst>
          </p:cNvPr>
          <p:cNvSpPr>
            <a:spLocks noGrp="1"/>
          </p:cNvSpPr>
          <p:nvPr>
            <p:ph idx="1"/>
          </p:nvPr>
        </p:nvSpPr>
        <p:spPr/>
        <p:txBody>
          <a:bodyPr/>
          <a:lstStyle/>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Skogsstyrelsen är den myndighet som pekats ut som ansvarig i Sveriges implementation.</a:t>
            </a:r>
          </a:p>
          <a:p>
            <a:pPr>
              <a:lnSpc>
                <a:spcPct val="107000"/>
              </a:lnSpc>
              <a:spcAft>
                <a:spcPts val="800"/>
              </a:spcAft>
            </a:pPr>
            <a:r>
              <a:rPr lang="sv-SE" kern="100">
                <a:latin typeface="+mn-lt"/>
                <a:ea typeface="Aptos" panose="020B0004020202020204" pitchFamily="34" charset="0"/>
                <a:cs typeface="Times New Roman" panose="02020603050405020304" pitchFamily="18" charset="0"/>
              </a:rPr>
              <a:t>I uppdraget ligger både att informera och utöva övervakning.</a:t>
            </a:r>
          </a:p>
          <a:p>
            <a:pPr>
              <a:lnSpc>
                <a:spcPct val="107000"/>
              </a:lnSpc>
              <a:spcAft>
                <a:spcPts val="800"/>
              </a:spcAft>
            </a:pPr>
            <a:r>
              <a:rPr lang="sv-SE" kern="100">
                <a:effectLst/>
                <a:latin typeface="+mn-lt"/>
                <a:ea typeface="Aptos" panose="020B0004020202020204" pitchFamily="34" charset="0"/>
                <a:cs typeface="Times New Roman" panose="02020603050405020304" pitchFamily="18" charset="0"/>
              </a:rPr>
              <a:t>Vissa anmälningar till EU kommer att ”bromsa upp” i upp till 3 vardagar. Detta beror på att en liten andel av alla anmälningar ska granskas manuellt. Andelen kan bli 1% eller 3% beroende på om Sverige blir ett låg- eller mellanriskland.</a:t>
            </a:r>
          </a:p>
          <a:p>
            <a:pPr>
              <a:lnSpc>
                <a:spcPct val="107000"/>
              </a:lnSpc>
              <a:spcAft>
                <a:spcPts val="800"/>
              </a:spcAft>
            </a:pPr>
            <a:r>
              <a:rPr lang="sv-SE" kern="100">
                <a:latin typeface="+mn-lt"/>
                <a:ea typeface="Aptos" panose="020B0004020202020204" pitchFamily="34" charset="0"/>
                <a:cs typeface="Times New Roman" panose="02020603050405020304" pitchFamily="18" charset="0"/>
              </a:rPr>
              <a:t>Andelen som granskas närmare i fält eller hos verksamhetsutövaren vet vi inget om ännu.</a:t>
            </a:r>
            <a:endParaRPr lang="sv-SE" kern="100">
              <a:effectLst/>
              <a:latin typeface="+mn-lt"/>
              <a:ea typeface="Aptos" panose="020B0004020202020204" pitchFamily="34" charset="0"/>
              <a:cs typeface="Times New Roman" panose="02020603050405020304" pitchFamily="18" charset="0"/>
            </a:endParaRPr>
          </a:p>
          <a:p>
            <a:pPr marL="4762" indent="0">
              <a:buNone/>
            </a:pPr>
            <a:endParaRPr lang="sv-SE" sz="1400">
              <a:latin typeface="+mn-lt"/>
            </a:endParaRPr>
          </a:p>
        </p:txBody>
      </p:sp>
      <p:sp>
        <p:nvSpPr>
          <p:cNvPr id="5" name="Rubrik 4">
            <a:extLst>
              <a:ext uri="{FF2B5EF4-FFF2-40B4-BE49-F238E27FC236}">
                <a16:creationId xmlns:a16="http://schemas.microsoft.com/office/drawing/2014/main" id="{07C84C5A-969C-651C-40C1-CC701195FB76}"/>
              </a:ext>
            </a:extLst>
          </p:cNvPr>
          <p:cNvSpPr>
            <a:spLocks noGrp="1"/>
          </p:cNvSpPr>
          <p:nvPr>
            <p:ph type="title"/>
          </p:nvPr>
        </p:nvSpPr>
        <p:spPr>
          <a:xfrm>
            <a:off x="838200" y="707571"/>
            <a:ext cx="10515600" cy="458016"/>
          </a:xfrm>
        </p:spPr>
        <p:txBody>
          <a:bodyPr/>
          <a:lstStyle/>
          <a:p>
            <a:r>
              <a:rPr lang="sv-SE"/>
              <a:t>SKOGSSTYRELSEN SOM ANSVARIG MYNDIGHET</a:t>
            </a:r>
          </a:p>
        </p:txBody>
      </p:sp>
    </p:spTree>
    <p:extLst>
      <p:ext uri="{BB962C8B-B14F-4D97-AF65-F5344CB8AC3E}">
        <p14:creationId xmlns:p14="http://schemas.microsoft.com/office/powerpoint/2010/main" val="28072816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Rektangel 15">
            <a:extLst>
              <a:ext uri="{FF2B5EF4-FFF2-40B4-BE49-F238E27FC236}">
                <a16:creationId xmlns:a16="http://schemas.microsoft.com/office/drawing/2014/main" id="{06B5E072-139B-6E08-98C5-BB128AA1BBC7}"/>
              </a:ext>
            </a:extLst>
          </p:cNvPr>
          <p:cNvSpPr/>
          <p:nvPr/>
        </p:nvSpPr>
        <p:spPr>
          <a:xfrm>
            <a:off x="257242" y="3558322"/>
            <a:ext cx="11755204" cy="3238069"/>
          </a:xfrm>
          <a:prstGeom prst="rect">
            <a:avLst/>
          </a:prstGeom>
          <a:solidFill>
            <a:srgbClr val="007B4F">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60" name="Rektangel: rundade hörn 59">
            <a:extLst>
              <a:ext uri="{FF2B5EF4-FFF2-40B4-BE49-F238E27FC236}">
                <a16:creationId xmlns:a16="http://schemas.microsoft.com/office/drawing/2014/main" id="{69A8954F-DFE9-A001-BE04-8313668190E9}"/>
              </a:ext>
            </a:extLst>
          </p:cNvPr>
          <p:cNvSpPr/>
          <p:nvPr/>
        </p:nvSpPr>
        <p:spPr>
          <a:xfrm>
            <a:off x="254655" y="3708143"/>
            <a:ext cx="1311265" cy="3088248"/>
          </a:xfrm>
          <a:prstGeom prst="roundRect">
            <a:avLst>
              <a:gd name="adj" fmla="val 3695"/>
            </a:avLst>
          </a:prstGeom>
          <a:solidFill>
            <a:schemeClr val="bg1"/>
          </a:solidFill>
          <a:ln w="19050">
            <a:solidFill>
              <a:srgbClr val="007B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15" name="Rektangel 14">
            <a:extLst>
              <a:ext uri="{FF2B5EF4-FFF2-40B4-BE49-F238E27FC236}">
                <a16:creationId xmlns:a16="http://schemas.microsoft.com/office/drawing/2014/main" id="{7E15291A-7A0E-2067-CBF5-09C090198D9D}"/>
              </a:ext>
            </a:extLst>
          </p:cNvPr>
          <p:cNvSpPr/>
          <p:nvPr/>
        </p:nvSpPr>
        <p:spPr>
          <a:xfrm>
            <a:off x="246144" y="1342103"/>
            <a:ext cx="11768330" cy="2218510"/>
          </a:xfrm>
          <a:prstGeom prst="rect">
            <a:avLst/>
          </a:prstGeom>
          <a:solidFill>
            <a:srgbClr val="FF0000">
              <a:alpha val="10000"/>
            </a:srgb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4" name="Rubrik 3">
            <a:extLst>
              <a:ext uri="{FF2B5EF4-FFF2-40B4-BE49-F238E27FC236}">
                <a16:creationId xmlns:a16="http://schemas.microsoft.com/office/drawing/2014/main" id="{9E7589EE-C4CC-65E7-8449-46D4EE0DF139}"/>
              </a:ext>
            </a:extLst>
          </p:cNvPr>
          <p:cNvSpPr>
            <a:spLocks noGrp="1"/>
          </p:cNvSpPr>
          <p:nvPr>
            <p:ph type="title"/>
          </p:nvPr>
        </p:nvSpPr>
        <p:spPr>
          <a:xfrm>
            <a:off x="932071" y="379806"/>
            <a:ext cx="10515600" cy="813463"/>
          </a:xfrm>
        </p:spPr>
        <p:txBody>
          <a:bodyPr>
            <a:noAutofit/>
          </a:bodyPr>
          <a:lstStyle/>
          <a:p>
            <a:r>
              <a:rPr lang="sv-SE"/>
              <a:t>BIOMETRIA HAR BESLUTAT ATT STÖDJA INFORMATIONSSPRIDNINGS-</a:t>
            </a:r>
            <a:br>
              <a:rPr lang="sv-SE"/>
            </a:br>
            <a:r>
              <a:rPr lang="sv-SE"/>
              <a:t>PROCESSEN FRÅN STARTEN I DECEMBER I ÅR</a:t>
            </a:r>
          </a:p>
        </p:txBody>
      </p:sp>
      <p:pic>
        <p:nvPicPr>
          <p:cNvPr id="5" name="Bildobjekt 4" descr="En bild som visar symbol, Grafik, logotyp, cirkel">
            <a:extLst>
              <a:ext uri="{FF2B5EF4-FFF2-40B4-BE49-F238E27FC236}">
                <a16:creationId xmlns:a16="http://schemas.microsoft.com/office/drawing/2014/main" id="{3C54F847-2454-FEAE-DFE7-88D333324BA6}"/>
              </a:ext>
            </a:extLst>
          </p:cNvPr>
          <p:cNvPicPr>
            <a:picLocks noChangeAspect="1"/>
          </p:cNvPicPr>
          <p:nvPr/>
        </p:nvPicPr>
        <p:blipFill>
          <a:blip r:embed="rId3"/>
          <a:stretch>
            <a:fillRect/>
          </a:stretch>
        </p:blipFill>
        <p:spPr>
          <a:xfrm>
            <a:off x="3791993" y="4236089"/>
            <a:ext cx="751930" cy="564715"/>
          </a:xfrm>
          <a:prstGeom prst="rect">
            <a:avLst/>
          </a:prstGeom>
          <a:effectLst>
            <a:outerShdw blurRad="50800" dist="38100" dir="2700000" algn="tl" rotWithShape="0">
              <a:prstClr val="black">
                <a:alpha val="40000"/>
              </a:prstClr>
            </a:outerShdw>
          </a:effectLst>
        </p:spPr>
      </p:pic>
      <p:pic>
        <p:nvPicPr>
          <p:cNvPr id="6" name="Bildobjekt 5" descr="En bild som visar clipart, tecknad serie&#10;&#10;Automatiskt genererad beskrivning">
            <a:extLst>
              <a:ext uri="{FF2B5EF4-FFF2-40B4-BE49-F238E27FC236}">
                <a16:creationId xmlns:a16="http://schemas.microsoft.com/office/drawing/2014/main" id="{325F57F6-D38A-99B3-6566-ECCF685B5025}"/>
              </a:ext>
            </a:extLst>
          </p:cNvPr>
          <p:cNvPicPr>
            <a:picLocks noChangeAspect="1"/>
          </p:cNvPicPr>
          <p:nvPr/>
        </p:nvPicPr>
        <p:blipFill>
          <a:blip r:embed="rId4"/>
          <a:stretch>
            <a:fillRect/>
          </a:stretch>
        </p:blipFill>
        <p:spPr>
          <a:xfrm>
            <a:off x="4833797" y="4077805"/>
            <a:ext cx="898954" cy="894632"/>
          </a:xfrm>
          <a:prstGeom prst="rect">
            <a:avLst/>
          </a:prstGeom>
          <a:effectLst>
            <a:outerShdw blurRad="50800" dist="38100" dir="2700000" algn="tl" rotWithShape="0">
              <a:prstClr val="black">
                <a:alpha val="40000"/>
              </a:prstClr>
            </a:outerShdw>
          </a:effectLst>
        </p:spPr>
      </p:pic>
      <p:pic>
        <p:nvPicPr>
          <p:cNvPr id="7" name="Bildobjekt 6" descr="En bild som visar symbol, Grafik, logotyp, cirkel">
            <a:extLst>
              <a:ext uri="{FF2B5EF4-FFF2-40B4-BE49-F238E27FC236}">
                <a16:creationId xmlns:a16="http://schemas.microsoft.com/office/drawing/2014/main" id="{49FB7EA7-62DD-AC80-D92B-39AED24D4E04}"/>
              </a:ext>
            </a:extLst>
          </p:cNvPr>
          <p:cNvPicPr>
            <a:picLocks noChangeAspect="1"/>
          </p:cNvPicPr>
          <p:nvPr/>
        </p:nvPicPr>
        <p:blipFill>
          <a:blip r:embed="rId3"/>
          <a:stretch>
            <a:fillRect/>
          </a:stretch>
        </p:blipFill>
        <p:spPr>
          <a:xfrm>
            <a:off x="6061724" y="4223551"/>
            <a:ext cx="785321" cy="589792"/>
          </a:xfrm>
          <a:prstGeom prst="rect">
            <a:avLst/>
          </a:prstGeom>
          <a:effectLst>
            <a:outerShdw blurRad="50800" dist="38100" dir="2700000" algn="tl" rotWithShape="0">
              <a:prstClr val="black">
                <a:alpha val="40000"/>
              </a:prstClr>
            </a:outerShdw>
          </a:effectLst>
        </p:spPr>
      </p:pic>
      <p:sp>
        <p:nvSpPr>
          <p:cNvPr id="8" name="textruta 7">
            <a:extLst>
              <a:ext uri="{FF2B5EF4-FFF2-40B4-BE49-F238E27FC236}">
                <a16:creationId xmlns:a16="http://schemas.microsoft.com/office/drawing/2014/main" id="{ECED1562-5273-BF77-3587-B4465420FD46}"/>
              </a:ext>
            </a:extLst>
          </p:cNvPr>
          <p:cNvSpPr txBox="1"/>
          <p:nvPr/>
        </p:nvSpPr>
        <p:spPr>
          <a:xfrm>
            <a:off x="6821733" y="5017916"/>
            <a:ext cx="16073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Pappersbruket AB</a:t>
            </a:r>
          </a:p>
        </p:txBody>
      </p:sp>
      <p:sp>
        <p:nvSpPr>
          <p:cNvPr id="9" name="textruta 8">
            <a:extLst>
              <a:ext uri="{FF2B5EF4-FFF2-40B4-BE49-F238E27FC236}">
                <a16:creationId xmlns:a16="http://schemas.microsoft.com/office/drawing/2014/main" id="{917AEADE-FBE9-D0AF-87F4-9CC2F664B2C6}"/>
              </a:ext>
            </a:extLst>
          </p:cNvPr>
          <p:cNvSpPr txBox="1"/>
          <p:nvPr/>
        </p:nvSpPr>
        <p:spPr>
          <a:xfrm>
            <a:off x="4558473" y="6282980"/>
            <a:ext cx="224077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 VIOL</a:t>
            </a:r>
          </a:p>
        </p:txBody>
      </p:sp>
      <p:cxnSp>
        <p:nvCxnSpPr>
          <p:cNvPr id="10" name="Rak pilkoppling 9">
            <a:extLst>
              <a:ext uri="{FF2B5EF4-FFF2-40B4-BE49-F238E27FC236}">
                <a16:creationId xmlns:a16="http://schemas.microsoft.com/office/drawing/2014/main" id="{26257F0C-ADE2-6ACA-CC8D-8AFC03761DE9}"/>
              </a:ext>
            </a:extLst>
          </p:cNvPr>
          <p:cNvCxnSpPr>
            <a:cxnSpLocks/>
          </p:cNvCxnSpPr>
          <p:nvPr/>
        </p:nvCxnSpPr>
        <p:spPr>
          <a:xfrm>
            <a:off x="7350009" y="6231247"/>
            <a:ext cx="2242546" cy="0"/>
          </a:xfrm>
          <a:prstGeom prst="straightConnector1">
            <a:avLst/>
          </a:prstGeom>
          <a:ln w="19050">
            <a:solidFill>
              <a:srgbClr val="A0316E"/>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5" name="Bildobjekt 84">
            <a:extLst>
              <a:ext uri="{FF2B5EF4-FFF2-40B4-BE49-F238E27FC236}">
                <a16:creationId xmlns:a16="http://schemas.microsoft.com/office/drawing/2014/main" id="{1DE6FFF4-0CE9-EEFE-53C0-1A6FC27CE3D4}"/>
              </a:ext>
            </a:extLst>
          </p:cNvPr>
          <p:cNvPicPr>
            <a:picLocks noChangeAspect="1"/>
          </p:cNvPicPr>
          <p:nvPr/>
        </p:nvPicPr>
        <p:blipFill>
          <a:blip r:embed="rId5"/>
          <a:stretch>
            <a:fillRect/>
          </a:stretch>
        </p:blipFill>
        <p:spPr>
          <a:xfrm>
            <a:off x="9158966" y="4102952"/>
            <a:ext cx="900000" cy="895674"/>
          </a:xfrm>
          <a:prstGeom prst="rect">
            <a:avLst/>
          </a:prstGeom>
          <a:effectLst>
            <a:outerShdw blurRad="50800" dist="38100" dir="2700000" algn="tl" rotWithShape="0">
              <a:prstClr val="black">
                <a:alpha val="40000"/>
              </a:prstClr>
            </a:outerShdw>
          </a:effectLst>
        </p:spPr>
      </p:pic>
      <p:sp>
        <p:nvSpPr>
          <p:cNvPr id="86" name="textruta 85">
            <a:extLst>
              <a:ext uri="{FF2B5EF4-FFF2-40B4-BE49-F238E27FC236}">
                <a16:creationId xmlns:a16="http://schemas.microsoft.com/office/drawing/2014/main" id="{30F175B3-7D7E-77DE-A7D3-EA8E3C32B3F3}"/>
              </a:ext>
            </a:extLst>
          </p:cNvPr>
          <p:cNvSpPr txBox="1"/>
          <p:nvPr/>
        </p:nvSpPr>
        <p:spPr>
          <a:xfrm>
            <a:off x="4630591" y="5017298"/>
            <a:ext cx="1343499"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Skogsbolaget B</a:t>
            </a:r>
          </a:p>
        </p:txBody>
      </p:sp>
      <p:cxnSp>
        <p:nvCxnSpPr>
          <p:cNvPr id="87" name="Rak pilkoppling 86">
            <a:extLst>
              <a:ext uri="{FF2B5EF4-FFF2-40B4-BE49-F238E27FC236}">
                <a16:creationId xmlns:a16="http://schemas.microsoft.com/office/drawing/2014/main" id="{A18E86CB-5F5C-0A6E-278C-D7D21410CE7E}"/>
              </a:ext>
            </a:extLst>
          </p:cNvPr>
          <p:cNvCxnSpPr>
            <a:cxnSpLocks/>
          </p:cNvCxnSpPr>
          <p:nvPr/>
        </p:nvCxnSpPr>
        <p:spPr>
          <a:xfrm>
            <a:off x="2684834" y="6214325"/>
            <a:ext cx="4379595" cy="0"/>
          </a:xfrm>
          <a:prstGeom prst="straightConnector1">
            <a:avLst/>
          </a:prstGeom>
          <a:ln w="19050">
            <a:solidFill>
              <a:srgbClr val="007B4F"/>
            </a:solidFill>
            <a:headEnd type="triangle"/>
            <a:tailEnd type="triangle"/>
          </a:ln>
        </p:spPr>
        <p:style>
          <a:lnRef idx="1">
            <a:schemeClr val="accent1"/>
          </a:lnRef>
          <a:fillRef idx="0">
            <a:schemeClr val="accent1"/>
          </a:fillRef>
          <a:effectRef idx="0">
            <a:schemeClr val="accent1"/>
          </a:effectRef>
          <a:fontRef idx="minor">
            <a:schemeClr val="tx1"/>
          </a:fontRef>
        </p:style>
      </p:cxnSp>
      <p:pic>
        <p:nvPicPr>
          <p:cNvPr id="88" name="Bildobjekt 87" descr="En bild som visar Grafik, cirkel, logotyp, grafisk design&#10;&#10;Automatiskt genererad beskrivning">
            <a:extLst>
              <a:ext uri="{FF2B5EF4-FFF2-40B4-BE49-F238E27FC236}">
                <a16:creationId xmlns:a16="http://schemas.microsoft.com/office/drawing/2014/main" id="{E301863A-7F7E-D4D3-8F07-5B6C9FB1E6BF}"/>
              </a:ext>
            </a:extLst>
          </p:cNvPr>
          <p:cNvPicPr>
            <a:picLocks noChangeAspect="1"/>
          </p:cNvPicPr>
          <p:nvPr/>
        </p:nvPicPr>
        <p:blipFill>
          <a:blip r:embed="rId6"/>
          <a:stretch>
            <a:fillRect/>
          </a:stretch>
        </p:blipFill>
        <p:spPr>
          <a:xfrm>
            <a:off x="7064429" y="4093700"/>
            <a:ext cx="900000" cy="898521"/>
          </a:xfrm>
          <a:prstGeom prst="rect">
            <a:avLst/>
          </a:prstGeom>
          <a:effectLst>
            <a:outerShdw blurRad="50800" dist="38100" dir="2700000" algn="tl" rotWithShape="0">
              <a:prstClr val="black">
                <a:alpha val="40000"/>
              </a:prstClr>
            </a:outerShdw>
          </a:effectLst>
        </p:spPr>
      </p:pic>
      <p:pic>
        <p:nvPicPr>
          <p:cNvPr id="89" name="Bildobjekt 88" descr="En bild som visar symbol, Grafik, logotyp, cirkel">
            <a:extLst>
              <a:ext uri="{FF2B5EF4-FFF2-40B4-BE49-F238E27FC236}">
                <a16:creationId xmlns:a16="http://schemas.microsoft.com/office/drawing/2014/main" id="{8518F122-3787-5115-98A3-28278B51A515}"/>
              </a:ext>
            </a:extLst>
          </p:cNvPr>
          <p:cNvPicPr>
            <a:picLocks noChangeAspect="1"/>
          </p:cNvPicPr>
          <p:nvPr/>
        </p:nvPicPr>
        <p:blipFill>
          <a:blip r:embed="rId3"/>
          <a:stretch>
            <a:fillRect/>
          </a:stretch>
        </p:blipFill>
        <p:spPr>
          <a:xfrm>
            <a:off x="8342925" y="4267638"/>
            <a:ext cx="697655" cy="523953"/>
          </a:xfrm>
          <a:prstGeom prst="rect">
            <a:avLst/>
          </a:prstGeom>
          <a:effectLst>
            <a:outerShdw blurRad="50800" dist="38100" dir="2700000" algn="tl" rotWithShape="0">
              <a:prstClr val="black">
                <a:alpha val="40000"/>
              </a:prstClr>
            </a:outerShdw>
          </a:effectLst>
        </p:spPr>
      </p:pic>
      <p:grpSp>
        <p:nvGrpSpPr>
          <p:cNvPr id="90" name="Grupp 89">
            <a:extLst>
              <a:ext uri="{FF2B5EF4-FFF2-40B4-BE49-F238E27FC236}">
                <a16:creationId xmlns:a16="http://schemas.microsoft.com/office/drawing/2014/main" id="{7DA55BE0-51CE-6420-767E-1A5DCA3587A5}"/>
              </a:ext>
            </a:extLst>
          </p:cNvPr>
          <p:cNvGrpSpPr/>
          <p:nvPr/>
        </p:nvGrpSpPr>
        <p:grpSpPr>
          <a:xfrm>
            <a:off x="6831703" y="1659161"/>
            <a:ext cx="1835838" cy="851582"/>
            <a:chOff x="7835753" y="1095674"/>
            <a:chExt cx="1275221" cy="705455"/>
          </a:xfrm>
          <a:solidFill>
            <a:srgbClr val="007B4F"/>
          </a:solidFill>
        </p:grpSpPr>
        <p:sp>
          <p:nvSpPr>
            <p:cNvPr id="91" name="Flödesschema: Magnetskiva 90">
              <a:extLst>
                <a:ext uri="{FF2B5EF4-FFF2-40B4-BE49-F238E27FC236}">
                  <a16:creationId xmlns:a16="http://schemas.microsoft.com/office/drawing/2014/main" id="{26F73C14-D902-B843-8E05-B90C489F2573}"/>
                </a:ext>
              </a:extLst>
            </p:cNvPr>
            <p:cNvSpPr/>
            <p:nvPr/>
          </p:nvSpPr>
          <p:spPr>
            <a:xfrm>
              <a:off x="7835753" y="1095674"/>
              <a:ext cx="1275221" cy="705455"/>
            </a:xfrm>
            <a:prstGeom prst="flowChartMagneticDisk">
              <a:avLst/>
            </a:prstGeom>
            <a:solidFill>
              <a:schemeClr val="bg2">
                <a:lumMod val="85000"/>
              </a:schemeClr>
            </a:solidFill>
            <a:ln>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Noto Serif"/>
                <a:ea typeface="+mn-ea"/>
                <a:cs typeface="+mn-cs"/>
              </a:endParaRPr>
            </a:p>
          </p:txBody>
        </p:sp>
        <p:sp>
          <p:nvSpPr>
            <p:cNvPr id="92" name="textruta 91">
              <a:extLst>
                <a:ext uri="{FF2B5EF4-FFF2-40B4-BE49-F238E27FC236}">
                  <a16:creationId xmlns:a16="http://schemas.microsoft.com/office/drawing/2014/main" id="{148C7235-0FCE-A7E5-80E3-3C83406C025E}"/>
                </a:ext>
              </a:extLst>
            </p:cNvPr>
            <p:cNvSpPr txBox="1"/>
            <p:nvPr/>
          </p:nvSpPr>
          <p:spPr>
            <a:xfrm>
              <a:off x="7940822" y="1372303"/>
              <a:ext cx="1118178" cy="338554"/>
            </a:xfrm>
            <a:prstGeom prst="rect">
              <a:avLst/>
            </a:prstGeom>
            <a:no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600" b="0" i="0" u="none" strike="noStrike" kern="1200" cap="none" spc="0" normalizeH="0" baseline="0" noProof="0">
                  <a:ln>
                    <a:noFill/>
                  </a:ln>
                  <a:solidFill>
                    <a:srgbClr val="000000"/>
                  </a:solidFill>
                  <a:effectLst/>
                  <a:uLnTx/>
                  <a:uFillTx/>
                  <a:latin typeface="Open Sans"/>
                  <a:ea typeface="+mn-ea"/>
                  <a:cs typeface="+mn-cs"/>
                </a:rPr>
                <a:t>EU databasen</a:t>
              </a:r>
            </a:p>
          </p:txBody>
        </p:sp>
      </p:grpSp>
      <p:cxnSp>
        <p:nvCxnSpPr>
          <p:cNvPr id="93" name="Rak pilkoppling 92">
            <a:extLst>
              <a:ext uri="{FF2B5EF4-FFF2-40B4-BE49-F238E27FC236}">
                <a16:creationId xmlns:a16="http://schemas.microsoft.com/office/drawing/2014/main" id="{DB2D9F4F-99BD-AE1D-94A3-467628461E76}"/>
              </a:ext>
            </a:extLst>
          </p:cNvPr>
          <p:cNvCxnSpPr>
            <a:cxnSpLocks/>
          </p:cNvCxnSpPr>
          <p:nvPr/>
        </p:nvCxnSpPr>
        <p:spPr>
          <a:xfrm flipV="1">
            <a:off x="3817327" y="2064169"/>
            <a:ext cx="2932525" cy="140945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Rak pilkoppling 93">
            <a:extLst>
              <a:ext uri="{FF2B5EF4-FFF2-40B4-BE49-F238E27FC236}">
                <a16:creationId xmlns:a16="http://schemas.microsoft.com/office/drawing/2014/main" id="{6D0309C3-8C39-336C-CD34-ACC0624FB262}"/>
              </a:ext>
            </a:extLst>
          </p:cNvPr>
          <p:cNvCxnSpPr>
            <a:cxnSpLocks/>
          </p:cNvCxnSpPr>
          <p:nvPr/>
        </p:nvCxnSpPr>
        <p:spPr>
          <a:xfrm flipH="1">
            <a:off x="4246939" y="2304577"/>
            <a:ext cx="2501824" cy="11845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95" name="Rak pilkoppling 94">
            <a:extLst>
              <a:ext uri="{FF2B5EF4-FFF2-40B4-BE49-F238E27FC236}">
                <a16:creationId xmlns:a16="http://schemas.microsoft.com/office/drawing/2014/main" id="{D6EF43CC-A92E-A2D8-78B5-B34833DF983A}"/>
              </a:ext>
            </a:extLst>
          </p:cNvPr>
          <p:cNvCxnSpPr>
            <a:cxnSpLocks/>
          </p:cNvCxnSpPr>
          <p:nvPr/>
        </p:nvCxnSpPr>
        <p:spPr>
          <a:xfrm flipV="1">
            <a:off x="3318218" y="5499601"/>
            <a:ext cx="1078128" cy="1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6" name="Rektangel 95">
            <a:extLst>
              <a:ext uri="{FF2B5EF4-FFF2-40B4-BE49-F238E27FC236}">
                <a16:creationId xmlns:a16="http://schemas.microsoft.com/office/drawing/2014/main" id="{1FE7F7EB-EE7A-17F3-2C3C-01286907F310}"/>
              </a:ext>
            </a:extLst>
          </p:cNvPr>
          <p:cNvSpPr/>
          <p:nvPr/>
        </p:nvSpPr>
        <p:spPr>
          <a:xfrm>
            <a:off x="3599411" y="5491636"/>
            <a:ext cx="526827" cy="427453"/>
          </a:xfrm>
          <a:prstGeom prst="rect">
            <a:avLst/>
          </a:prstGeom>
          <a:solidFill>
            <a:schemeClr val="bg2">
              <a:lumMod val="8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Ref Y</a:t>
            </a:r>
          </a:p>
        </p:txBody>
      </p:sp>
      <p:cxnSp>
        <p:nvCxnSpPr>
          <p:cNvPr id="97" name="Rak pilkoppling 96">
            <a:extLst>
              <a:ext uri="{FF2B5EF4-FFF2-40B4-BE49-F238E27FC236}">
                <a16:creationId xmlns:a16="http://schemas.microsoft.com/office/drawing/2014/main" id="{8A6FCC69-959F-2429-A9A0-7533B887CB6B}"/>
              </a:ext>
            </a:extLst>
          </p:cNvPr>
          <p:cNvCxnSpPr>
            <a:cxnSpLocks/>
          </p:cNvCxnSpPr>
          <p:nvPr/>
        </p:nvCxnSpPr>
        <p:spPr>
          <a:xfrm flipV="1">
            <a:off x="5444341" y="5512239"/>
            <a:ext cx="1078128" cy="1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98" name="Rektangel 97">
            <a:extLst>
              <a:ext uri="{FF2B5EF4-FFF2-40B4-BE49-F238E27FC236}">
                <a16:creationId xmlns:a16="http://schemas.microsoft.com/office/drawing/2014/main" id="{D4EBCBCD-8493-F24A-F462-5EB98667817B}"/>
              </a:ext>
            </a:extLst>
          </p:cNvPr>
          <p:cNvSpPr/>
          <p:nvPr/>
        </p:nvSpPr>
        <p:spPr>
          <a:xfrm>
            <a:off x="5678858" y="5504274"/>
            <a:ext cx="573503" cy="427453"/>
          </a:xfrm>
          <a:prstGeom prst="rect">
            <a:avLst/>
          </a:prstGeom>
          <a:solidFill>
            <a:schemeClr val="bg2">
              <a:lumMod val="8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Ref Y</a:t>
            </a:r>
          </a:p>
        </p:txBody>
      </p:sp>
      <p:cxnSp>
        <p:nvCxnSpPr>
          <p:cNvPr id="99" name="Rak pilkoppling 98">
            <a:extLst>
              <a:ext uri="{FF2B5EF4-FFF2-40B4-BE49-F238E27FC236}">
                <a16:creationId xmlns:a16="http://schemas.microsoft.com/office/drawing/2014/main" id="{864B3EA2-3294-2DEB-01C1-4CFBA45DEE0A}"/>
              </a:ext>
            </a:extLst>
          </p:cNvPr>
          <p:cNvCxnSpPr>
            <a:cxnSpLocks/>
          </p:cNvCxnSpPr>
          <p:nvPr/>
        </p:nvCxnSpPr>
        <p:spPr>
          <a:xfrm flipV="1">
            <a:off x="7520877" y="2510742"/>
            <a:ext cx="0" cy="935667"/>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0" name="Rektangel 99">
            <a:extLst>
              <a:ext uri="{FF2B5EF4-FFF2-40B4-BE49-F238E27FC236}">
                <a16:creationId xmlns:a16="http://schemas.microsoft.com/office/drawing/2014/main" id="{14BA585A-B397-6914-E6F8-7D5EBDD8FA54}"/>
              </a:ext>
            </a:extLst>
          </p:cNvPr>
          <p:cNvSpPr/>
          <p:nvPr/>
        </p:nvSpPr>
        <p:spPr>
          <a:xfrm>
            <a:off x="4284668" y="2274803"/>
            <a:ext cx="623036" cy="461689"/>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Kvantit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Sortimen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Koordinat</a:t>
            </a:r>
          </a:p>
        </p:txBody>
      </p:sp>
      <p:cxnSp>
        <p:nvCxnSpPr>
          <p:cNvPr id="101" name="Rak pilkoppling 100">
            <a:extLst>
              <a:ext uri="{FF2B5EF4-FFF2-40B4-BE49-F238E27FC236}">
                <a16:creationId xmlns:a16="http://schemas.microsoft.com/office/drawing/2014/main" id="{658913C5-59F3-7719-38CD-A35E4B4F3ABF}"/>
              </a:ext>
            </a:extLst>
          </p:cNvPr>
          <p:cNvCxnSpPr>
            <a:cxnSpLocks/>
          </p:cNvCxnSpPr>
          <p:nvPr/>
        </p:nvCxnSpPr>
        <p:spPr>
          <a:xfrm flipH="1">
            <a:off x="7777009" y="2581188"/>
            <a:ext cx="12172" cy="91414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2" name="Rektangel 101">
            <a:extLst>
              <a:ext uri="{FF2B5EF4-FFF2-40B4-BE49-F238E27FC236}">
                <a16:creationId xmlns:a16="http://schemas.microsoft.com/office/drawing/2014/main" id="{2A94A359-695B-5E9D-58DB-2CDCB7686512}"/>
              </a:ext>
            </a:extLst>
          </p:cNvPr>
          <p:cNvSpPr/>
          <p:nvPr/>
        </p:nvSpPr>
        <p:spPr>
          <a:xfrm>
            <a:off x="5431331" y="2727925"/>
            <a:ext cx="565497" cy="427453"/>
          </a:xfrm>
          <a:prstGeom prst="rect">
            <a:avLst/>
          </a:prstGeom>
          <a:solidFill>
            <a:schemeClr val="bg2">
              <a:lumMod val="8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Ref Y </a:t>
            </a:r>
          </a:p>
        </p:txBody>
      </p:sp>
      <p:cxnSp>
        <p:nvCxnSpPr>
          <p:cNvPr id="103" name="Rak pilkoppling 102">
            <a:extLst>
              <a:ext uri="{FF2B5EF4-FFF2-40B4-BE49-F238E27FC236}">
                <a16:creationId xmlns:a16="http://schemas.microsoft.com/office/drawing/2014/main" id="{E7CC116A-341E-25FF-59EF-2E91226EFD5F}"/>
              </a:ext>
            </a:extLst>
          </p:cNvPr>
          <p:cNvCxnSpPr>
            <a:cxnSpLocks/>
          </p:cNvCxnSpPr>
          <p:nvPr/>
        </p:nvCxnSpPr>
        <p:spPr>
          <a:xfrm flipV="1">
            <a:off x="7949695" y="5535349"/>
            <a:ext cx="1078128" cy="1383"/>
          </a:xfrm>
          <a:prstGeom prst="straightConnector1">
            <a:avLst/>
          </a:prstGeom>
          <a:ln w="19050">
            <a:solidFill>
              <a:schemeClr val="tx1"/>
            </a:solidFill>
            <a:tailEnd type="triangle"/>
          </a:ln>
        </p:spPr>
        <p:style>
          <a:lnRef idx="1">
            <a:schemeClr val="accent1"/>
          </a:lnRef>
          <a:fillRef idx="0">
            <a:schemeClr val="accent1"/>
          </a:fillRef>
          <a:effectRef idx="0">
            <a:schemeClr val="accent1"/>
          </a:effectRef>
          <a:fontRef idx="minor">
            <a:schemeClr val="tx1"/>
          </a:fontRef>
        </p:style>
      </p:cxnSp>
      <p:sp>
        <p:nvSpPr>
          <p:cNvPr id="104" name="Rektangel 103">
            <a:extLst>
              <a:ext uri="{FF2B5EF4-FFF2-40B4-BE49-F238E27FC236}">
                <a16:creationId xmlns:a16="http://schemas.microsoft.com/office/drawing/2014/main" id="{BB77FDE4-33EE-EFCC-7F3A-D4E38D04CF1B}"/>
              </a:ext>
            </a:extLst>
          </p:cNvPr>
          <p:cNvSpPr/>
          <p:nvPr/>
        </p:nvSpPr>
        <p:spPr>
          <a:xfrm>
            <a:off x="8270344" y="5533869"/>
            <a:ext cx="487371" cy="427453"/>
          </a:xfrm>
          <a:prstGeom prst="rect">
            <a:avLst/>
          </a:prstGeom>
          <a:solidFill>
            <a:schemeClr val="bg2">
              <a:lumMod val="8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Ref Z</a:t>
            </a:r>
          </a:p>
        </p:txBody>
      </p:sp>
      <p:sp>
        <p:nvSpPr>
          <p:cNvPr id="105" name="Rektangel 104">
            <a:extLst>
              <a:ext uri="{FF2B5EF4-FFF2-40B4-BE49-F238E27FC236}">
                <a16:creationId xmlns:a16="http://schemas.microsoft.com/office/drawing/2014/main" id="{489D0DD9-F91B-B568-A702-EAA6869B0C8D}"/>
              </a:ext>
            </a:extLst>
          </p:cNvPr>
          <p:cNvSpPr/>
          <p:nvPr/>
        </p:nvSpPr>
        <p:spPr>
          <a:xfrm>
            <a:off x="6654834" y="2707808"/>
            <a:ext cx="868438" cy="689733"/>
          </a:xfrm>
          <a:prstGeom prst="rect">
            <a:avLst/>
          </a:prstGeom>
          <a:noFill/>
        </p:spPr>
        <p:style>
          <a:lnRef idx="2">
            <a:schemeClr val="accent1">
              <a:shade val="15000"/>
            </a:schemeClr>
          </a:lnRef>
          <a:fillRef idx="1">
            <a:schemeClr val="accent1"/>
          </a:fillRef>
          <a:effectRef idx="0">
            <a:schemeClr val="accent1"/>
          </a:effectRef>
          <a:fontRef idx="minor">
            <a:schemeClr val="lt1"/>
          </a:fontRef>
        </p:style>
        <p:txBody>
          <a:bodyPr lIns="0" rIns="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Lista på ref nr:</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Ref X</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Ref Y</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Kvantite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800" b="0" i="0" u="none" strike="noStrike" kern="1200" cap="none" spc="0" normalizeH="0" baseline="0" noProof="0">
                <a:ln>
                  <a:noFill/>
                </a:ln>
                <a:solidFill>
                  <a:srgbClr val="000000"/>
                </a:solidFill>
                <a:effectLst/>
                <a:uLnTx/>
                <a:uFillTx/>
                <a:latin typeface="Open Sans"/>
                <a:ea typeface="+mn-ea"/>
                <a:cs typeface="+mn-cs"/>
              </a:rPr>
              <a:t>Produkt</a:t>
            </a:r>
          </a:p>
        </p:txBody>
      </p:sp>
      <p:sp>
        <p:nvSpPr>
          <p:cNvPr id="106" name="Rektangel 105">
            <a:extLst>
              <a:ext uri="{FF2B5EF4-FFF2-40B4-BE49-F238E27FC236}">
                <a16:creationId xmlns:a16="http://schemas.microsoft.com/office/drawing/2014/main" id="{4A8714B3-3691-2EA6-F5E6-4D745C0E17A3}"/>
              </a:ext>
            </a:extLst>
          </p:cNvPr>
          <p:cNvSpPr/>
          <p:nvPr/>
        </p:nvSpPr>
        <p:spPr>
          <a:xfrm>
            <a:off x="7768382" y="2826582"/>
            <a:ext cx="566715" cy="427453"/>
          </a:xfrm>
          <a:prstGeom prst="rect">
            <a:avLst/>
          </a:prstGeom>
          <a:solidFill>
            <a:schemeClr val="bg2">
              <a:lumMod val="85000"/>
            </a:schemeClr>
          </a:solidFill>
          <a:ln w="28575">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900" b="0" i="0" u="none" strike="noStrike" kern="1200" cap="none" spc="0" normalizeH="0" baseline="0" noProof="0">
                <a:ln>
                  <a:noFill/>
                </a:ln>
                <a:solidFill>
                  <a:srgbClr val="000000"/>
                </a:solidFill>
                <a:effectLst/>
                <a:uLnTx/>
                <a:uFillTx/>
                <a:latin typeface="Open Sans"/>
                <a:ea typeface="+mn-ea"/>
                <a:cs typeface="+mn-cs"/>
              </a:rPr>
              <a:t>Ref Z  </a:t>
            </a:r>
          </a:p>
        </p:txBody>
      </p:sp>
      <p:pic>
        <p:nvPicPr>
          <p:cNvPr id="107" name="Bildobjekt 106" descr="En bild som visar clipart, tecknad serie&#10;&#10;Automatiskt genererad beskrivning">
            <a:extLst>
              <a:ext uri="{FF2B5EF4-FFF2-40B4-BE49-F238E27FC236}">
                <a16:creationId xmlns:a16="http://schemas.microsoft.com/office/drawing/2014/main" id="{43064D00-E724-001D-0A78-5A4FD10074BC}"/>
              </a:ext>
            </a:extLst>
          </p:cNvPr>
          <p:cNvPicPr>
            <a:picLocks noChangeAspect="1"/>
          </p:cNvPicPr>
          <p:nvPr/>
        </p:nvPicPr>
        <p:blipFill>
          <a:blip r:embed="rId4"/>
          <a:stretch>
            <a:fillRect/>
          </a:stretch>
        </p:blipFill>
        <p:spPr>
          <a:xfrm>
            <a:off x="2353674" y="4094290"/>
            <a:ext cx="898954" cy="894632"/>
          </a:xfrm>
          <a:prstGeom prst="rect">
            <a:avLst/>
          </a:prstGeom>
          <a:effectLst>
            <a:outerShdw blurRad="50800" dist="38100" dir="2700000" algn="tl" rotWithShape="0">
              <a:prstClr val="black">
                <a:alpha val="40000"/>
              </a:prstClr>
            </a:outerShdw>
          </a:effectLst>
        </p:spPr>
      </p:pic>
      <p:sp>
        <p:nvSpPr>
          <p:cNvPr id="108" name="textruta 107">
            <a:extLst>
              <a:ext uri="{FF2B5EF4-FFF2-40B4-BE49-F238E27FC236}">
                <a16:creationId xmlns:a16="http://schemas.microsoft.com/office/drawing/2014/main" id="{83CBCCF9-DF50-6C2A-6A13-E34F0E653C69}"/>
              </a:ext>
            </a:extLst>
          </p:cNvPr>
          <p:cNvSpPr txBox="1"/>
          <p:nvPr/>
        </p:nvSpPr>
        <p:spPr>
          <a:xfrm>
            <a:off x="2172907" y="5005379"/>
            <a:ext cx="1298271"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Skogsbolaget A</a:t>
            </a:r>
          </a:p>
        </p:txBody>
      </p:sp>
      <p:pic>
        <p:nvPicPr>
          <p:cNvPr id="114" name="Bildobjekt 113" descr="En bild som visar text, klocka&#10;&#10;Automatiskt genererad beskrivning">
            <a:extLst>
              <a:ext uri="{FF2B5EF4-FFF2-40B4-BE49-F238E27FC236}">
                <a16:creationId xmlns:a16="http://schemas.microsoft.com/office/drawing/2014/main" id="{74D7DE17-2B94-EF74-F6DF-F6146E8D4BDA}"/>
              </a:ext>
            </a:extLst>
          </p:cNvPr>
          <p:cNvPicPr>
            <a:picLocks noChangeAspect="1"/>
          </p:cNvPicPr>
          <p:nvPr/>
        </p:nvPicPr>
        <p:blipFill>
          <a:blip r:embed="rId7"/>
          <a:stretch>
            <a:fillRect/>
          </a:stretch>
        </p:blipFill>
        <p:spPr>
          <a:xfrm>
            <a:off x="623827" y="6197358"/>
            <a:ext cx="361379" cy="224120"/>
          </a:xfrm>
          <a:prstGeom prst="rect">
            <a:avLst/>
          </a:prstGeom>
        </p:spPr>
      </p:pic>
      <p:sp>
        <p:nvSpPr>
          <p:cNvPr id="3" name="textruta 2">
            <a:extLst>
              <a:ext uri="{FF2B5EF4-FFF2-40B4-BE49-F238E27FC236}">
                <a16:creationId xmlns:a16="http://schemas.microsoft.com/office/drawing/2014/main" id="{316EA006-7CEE-AD60-DE5C-519D80A7CE4F}"/>
              </a:ext>
            </a:extLst>
          </p:cNvPr>
          <p:cNvSpPr txBox="1"/>
          <p:nvPr/>
        </p:nvSpPr>
        <p:spPr>
          <a:xfrm>
            <a:off x="257242" y="1194048"/>
            <a:ext cx="11753175" cy="276999"/>
          </a:xfrm>
          <a:prstGeom prst="rect">
            <a:avLst/>
          </a:prstGeom>
          <a:solidFill>
            <a:srgbClr val="FF0000"/>
          </a:solidFill>
          <a:ln>
            <a:no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srgbClr val="FFFFFF"/>
                </a:solidFill>
                <a:effectLst/>
                <a:uLnTx/>
                <a:uFillTx/>
                <a:latin typeface="Open Sans"/>
                <a:ea typeface="+mn-ea"/>
                <a:cs typeface="+mn-cs"/>
              </a:rPr>
              <a:t>Biometrias</a:t>
            </a:r>
            <a:r>
              <a:rPr kumimoji="0" lang="sv-SE" sz="1200" b="0" i="0" u="none" strike="noStrike" kern="1200" cap="none" spc="0" normalizeH="0" baseline="0" noProof="0">
                <a:ln>
                  <a:noFill/>
                </a:ln>
                <a:solidFill>
                  <a:srgbClr val="FFFFFF"/>
                </a:solidFill>
                <a:effectLst/>
                <a:uLnTx/>
                <a:uFillTx/>
                <a:latin typeface="Open Sans"/>
                <a:ea typeface="+mn-ea"/>
                <a:cs typeface="+mn-cs"/>
              </a:rPr>
              <a:t> styrelse har beslutat att Biometria </a:t>
            </a:r>
            <a:r>
              <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INTE KAN STÖDJA </a:t>
            </a:r>
            <a:r>
              <a:rPr kumimoji="0" lang="sv-SE" sz="1200" b="0" i="0" u="none" strike="noStrike" kern="1200" cap="none" spc="0" normalizeH="0" baseline="0" noProof="0">
                <a:ln>
                  <a:noFill/>
                </a:ln>
                <a:solidFill>
                  <a:srgbClr val="FFFFFF"/>
                </a:solidFill>
                <a:effectLst/>
                <a:uLnTx/>
                <a:uFillTx/>
                <a:latin typeface="Open Sans"/>
                <a:ea typeface="+mn-ea"/>
                <a:cs typeface="+mn-cs"/>
              </a:rPr>
              <a:t>processen att anmäla till EU och få tillbaka ett referens- och ett verifikationsnummer. </a:t>
            </a:r>
            <a:endParaRPr kumimoji="0" lang="sv-SE" sz="1200" b="0" i="0" u="none" strike="noStrike" kern="1200" cap="none" spc="0" normalizeH="0" baseline="0" noProof="0">
              <a:ln>
                <a:noFill/>
              </a:ln>
              <a:solidFill>
                <a:srgbClr val="000000"/>
              </a:solidFill>
              <a:effectLst/>
              <a:uLnTx/>
              <a:uFillTx/>
              <a:latin typeface="Noto Serif"/>
              <a:ea typeface="+mn-ea"/>
              <a:cs typeface="+mn-cs"/>
            </a:endParaRPr>
          </a:p>
        </p:txBody>
      </p:sp>
      <p:sp>
        <p:nvSpPr>
          <p:cNvPr id="110" name="textruta 109">
            <a:extLst>
              <a:ext uri="{FF2B5EF4-FFF2-40B4-BE49-F238E27FC236}">
                <a16:creationId xmlns:a16="http://schemas.microsoft.com/office/drawing/2014/main" id="{BB45E229-C9D2-C554-9C9F-20629B8CD802}"/>
              </a:ext>
            </a:extLst>
          </p:cNvPr>
          <p:cNvSpPr txBox="1"/>
          <p:nvPr/>
        </p:nvSpPr>
        <p:spPr>
          <a:xfrm>
            <a:off x="246144" y="3545070"/>
            <a:ext cx="11764274" cy="276999"/>
          </a:xfrm>
          <a:prstGeom prst="rect">
            <a:avLst/>
          </a:prstGeom>
          <a:solidFill>
            <a:srgbClr val="007B4F"/>
          </a:solidFill>
          <a:ln>
            <a:solidFill>
              <a:srgbClr val="007B4F"/>
            </a:solidFill>
          </a:ln>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srgbClr val="FFFFFF"/>
                </a:solidFill>
                <a:effectLst/>
                <a:uLnTx/>
                <a:uFillTx/>
                <a:latin typeface="Open Sans"/>
                <a:ea typeface="+mn-ea"/>
                <a:cs typeface="+mn-cs"/>
              </a:rPr>
              <a:t>Biometrias</a:t>
            </a:r>
            <a:r>
              <a:rPr kumimoji="0" lang="sv-SE" sz="1200" b="0" i="0" u="none" strike="noStrike" kern="1200" cap="none" spc="0" normalizeH="0" baseline="0" noProof="0">
                <a:ln>
                  <a:noFill/>
                </a:ln>
                <a:solidFill>
                  <a:srgbClr val="FFFFFF"/>
                </a:solidFill>
                <a:effectLst/>
                <a:uLnTx/>
                <a:uFillTx/>
                <a:latin typeface="Open Sans"/>
                <a:ea typeface="+mn-ea"/>
                <a:cs typeface="+mn-cs"/>
              </a:rPr>
              <a:t> styrelse har beslutat att Biometria </a:t>
            </a:r>
            <a:r>
              <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SKA STÖDJA </a:t>
            </a:r>
            <a:r>
              <a:rPr kumimoji="0" lang="sv-SE" sz="1200" b="0" i="0" u="none" strike="noStrike" kern="1200" cap="none" spc="0" normalizeH="0" baseline="0" noProof="0">
                <a:ln>
                  <a:noFill/>
                </a:ln>
                <a:solidFill>
                  <a:srgbClr val="FFFFFF"/>
                </a:solidFill>
                <a:effectLst/>
                <a:uLnTx/>
                <a:uFillTx/>
                <a:latin typeface="Open Sans"/>
                <a:ea typeface="+mn-ea"/>
                <a:cs typeface="+mn-cs"/>
              </a:rPr>
              <a:t>processen att sprida referensidentiteterna nedströms</a:t>
            </a:r>
          </a:p>
        </p:txBody>
      </p:sp>
      <p:sp>
        <p:nvSpPr>
          <p:cNvPr id="117" name="textruta 116">
            <a:extLst>
              <a:ext uri="{FF2B5EF4-FFF2-40B4-BE49-F238E27FC236}">
                <a16:creationId xmlns:a16="http://schemas.microsoft.com/office/drawing/2014/main" id="{3CE9871B-B412-D716-E3F5-F970574CBCD7}"/>
              </a:ext>
            </a:extLst>
          </p:cNvPr>
          <p:cNvSpPr txBox="1"/>
          <p:nvPr/>
        </p:nvSpPr>
        <p:spPr>
          <a:xfrm>
            <a:off x="8967077" y="5062562"/>
            <a:ext cx="160737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a:ea typeface="+mn-ea"/>
                <a:cs typeface="+mn-cs"/>
              </a:rPr>
              <a:t>Pappersgrossisten</a:t>
            </a:r>
          </a:p>
        </p:txBody>
      </p:sp>
      <p:pic>
        <p:nvPicPr>
          <p:cNvPr id="115" name="Bildobjekt 114" descr="En bild som visar Grafik, skärmbild, Färggrann, design&#10;&#10;Automatiskt genererad beskrivning">
            <a:extLst>
              <a:ext uri="{FF2B5EF4-FFF2-40B4-BE49-F238E27FC236}">
                <a16:creationId xmlns:a16="http://schemas.microsoft.com/office/drawing/2014/main" id="{B82DD05B-A5F6-EAD2-50E7-1D6D6EC93532}"/>
              </a:ext>
            </a:extLst>
          </p:cNvPr>
          <p:cNvPicPr>
            <a:picLocks noChangeAspect="1"/>
          </p:cNvPicPr>
          <p:nvPr/>
        </p:nvPicPr>
        <p:blipFill>
          <a:blip r:embed="rId8"/>
          <a:stretch>
            <a:fillRect/>
          </a:stretch>
        </p:blipFill>
        <p:spPr>
          <a:xfrm>
            <a:off x="730094" y="5497456"/>
            <a:ext cx="234358" cy="325344"/>
          </a:xfrm>
          <a:prstGeom prst="rect">
            <a:avLst/>
          </a:prstGeom>
        </p:spPr>
      </p:pic>
      <p:pic>
        <p:nvPicPr>
          <p:cNvPr id="116" name="Bildobjekt 115" descr="En bild som visar Grafik, design&#10;&#10;Automatiskt genererad beskrivning">
            <a:extLst>
              <a:ext uri="{FF2B5EF4-FFF2-40B4-BE49-F238E27FC236}">
                <a16:creationId xmlns:a16="http://schemas.microsoft.com/office/drawing/2014/main" id="{1C97A7AA-DCAD-6DFE-0F30-054CE80E574E}"/>
              </a:ext>
            </a:extLst>
          </p:cNvPr>
          <p:cNvPicPr>
            <a:picLocks noChangeAspect="1"/>
          </p:cNvPicPr>
          <p:nvPr/>
        </p:nvPicPr>
        <p:blipFill>
          <a:blip r:embed="rId9"/>
          <a:stretch>
            <a:fillRect/>
          </a:stretch>
        </p:blipFill>
        <p:spPr>
          <a:xfrm>
            <a:off x="736701" y="3943928"/>
            <a:ext cx="315676" cy="309876"/>
          </a:xfrm>
          <a:prstGeom prst="rect">
            <a:avLst/>
          </a:prstGeom>
        </p:spPr>
      </p:pic>
      <p:pic>
        <p:nvPicPr>
          <p:cNvPr id="120" name="Bildobjekt 119" descr="En bild som visar rita, konst, clipart, Grafik&#10;&#10;Automatiskt genererad beskrivning">
            <a:extLst>
              <a:ext uri="{FF2B5EF4-FFF2-40B4-BE49-F238E27FC236}">
                <a16:creationId xmlns:a16="http://schemas.microsoft.com/office/drawing/2014/main" id="{72FC15AF-31F9-DA39-4F17-7450172231D0}"/>
              </a:ext>
            </a:extLst>
          </p:cNvPr>
          <p:cNvPicPr>
            <a:picLocks noChangeAspect="1"/>
          </p:cNvPicPr>
          <p:nvPr/>
        </p:nvPicPr>
        <p:blipFill>
          <a:blip r:embed="rId10"/>
          <a:stretch>
            <a:fillRect/>
          </a:stretch>
        </p:blipFill>
        <p:spPr>
          <a:xfrm>
            <a:off x="688149" y="4684390"/>
            <a:ext cx="341698" cy="320989"/>
          </a:xfrm>
          <a:prstGeom prst="rect">
            <a:avLst/>
          </a:prstGeom>
        </p:spPr>
      </p:pic>
      <p:sp>
        <p:nvSpPr>
          <p:cNvPr id="11" name="textruta 10">
            <a:extLst>
              <a:ext uri="{FF2B5EF4-FFF2-40B4-BE49-F238E27FC236}">
                <a16:creationId xmlns:a16="http://schemas.microsoft.com/office/drawing/2014/main" id="{94A94EA9-5401-30FE-612C-462ABA8B538A}"/>
              </a:ext>
            </a:extLst>
          </p:cNvPr>
          <p:cNvSpPr txBox="1"/>
          <p:nvPr/>
        </p:nvSpPr>
        <p:spPr>
          <a:xfrm>
            <a:off x="257242" y="4289552"/>
            <a:ext cx="1298271"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Open Sans"/>
                <a:ea typeface="+mn-ea"/>
                <a:cs typeface="+mn-cs"/>
              </a:rPr>
              <a:t>Avverkningstrakt</a:t>
            </a:r>
          </a:p>
        </p:txBody>
      </p:sp>
      <p:sp>
        <p:nvSpPr>
          <p:cNvPr id="12" name="textruta 11">
            <a:extLst>
              <a:ext uri="{FF2B5EF4-FFF2-40B4-BE49-F238E27FC236}">
                <a16:creationId xmlns:a16="http://schemas.microsoft.com/office/drawing/2014/main" id="{D792C75A-0063-816E-A0CC-C1D46BA834D4}"/>
              </a:ext>
            </a:extLst>
          </p:cNvPr>
          <p:cNvSpPr txBox="1"/>
          <p:nvPr/>
        </p:nvSpPr>
        <p:spPr>
          <a:xfrm>
            <a:off x="439821" y="5052321"/>
            <a:ext cx="90943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Open Sans"/>
                <a:ea typeface="+mn-ea"/>
                <a:cs typeface="+mn-cs"/>
              </a:rPr>
              <a:t>Båtimport</a:t>
            </a:r>
          </a:p>
        </p:txBody>
      </p:sp>
      <p:sp>
        <p:nvSpPr>
          <p:cNvPr id="13" name="textruta 12">
            <a:extLst>
              <a:ext uri="{FF2B5EF4-FFF2-40B4-BE49-F238E27FC236}">
                <a16:creationId xmlns:a16="http://schemas.microsoft.com/office/drawing/2014/main" id="{160DCBAA-DBFF-87EC-407B-630962591F97}"/>
              </a:ext>
            </a:extLst>
          </p:cNvPr>
          <p:cNvSpPr txBox="1"/>
          <p:nvPr/>
        </p:nvSpPr>
        <p:spPr>
          <a:xfrm>
            <a:off x="344680" y="5830517"/>
            <a:ext cx="111269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Open Sans"/>
                <a:ea typeface="+mn-ea"/>
                <a:cs typeface="+mn-cs"/>
              </a:rPr>
              <a:t>Tågtransport</a:t>
            </a:r>
          </a:p>
        </p:txBody>
      </p:sp>
      <p:sp>
        <p:nvSpPr>
          <p:cNvPr id="14" name="textruta 13">
            <a:extLst>
              <a:ext uri="{FF2B5EF4-FFF2-40B4-BE49-F238E27FC236}">
                <a16:creationId xmlns:a16="http://schemas.microsoft.com/office/drawing/2014/main" id="{399A4D9B-C93D-F536-6071-3DAF2BFDF3AB}"/>
              </a:ext>
            </a:extLst>
          </p:cNvPr>
          <p:cNvSpPr txBox="1"/>
          <p:nvPr/>
        </p:nvSpPr>
        <p:spPr>
          <a:xfrm>
            <a:off x="369372" y="6443724"/>
            <a:ext cx="1030905" cy="26161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100" b="0" i="0" u="none" strike="noStrike" kern="1200" cap="none" spc="0" normalizeH="0" baseline="0" noProof="0">
                <a:ln>
                  <a:noFill/>
                </a:ln>
                <a:solidFill>
                  <a:srgbClr val="000000"/>
                </a:solidFill>
                <a:effectLst/>
                <a:uLnTx/>
                <a:uFillTx/>
                <a:latin typeface="Open Sans"/>
                <a:ea typeface="+mn-ea"/>
                <a:cs typeface="+mn-cs"/>
              </a:rPr>
              <a:t>Sågverksflis</a:t>
            </a:r>
          </a:p>
        </p:txBody>
      </p:sp>
      <p:sp>
        <p:nvSpPr>
          <p:cNvPr id="28" name="Rektangel: rundade hörn 27">
            <a:extLst>
              <a:ext uri="{FF2B5EF4-FFF2-40B4-BE49-F238E27FC236}">
                <a16:creationId xmlns:a16="http://schemas.microsoft.com/office/drawing/2014/main" id="{CEACCADF-C61A-C6B4-4F4E-138D4EECCAF9}"/>
              </a:ext>
            </a:extLst>
          </p:cNvPr>
          <p:cNvSpPr/>
          <p:nvPr/>
        </p:nvSpPr>
        <p:spPr>
          <a:xfrm>
            <a:off x="2543737" y="5373919"/>
            <a:ext cx="4576910" cy="1222856"/>
          </a:xfrm>
          <a:prstGeom prst="roundRect">
            <a:avLst>
              <a:gd name="adj" fmla="val 7651"/>
            </a:avLst>
          </a:prstGeom>
          <a:noFill/>
          <a:ln w="28575">
            <a:solidFill>
              <a:srgbClr val="007B4F"/>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29" name="textruta 28">
            <a:extLst>
              <a:ext uri="{FF2B5EF4-FFF2-40B4-BE49-F238E27FC236}">
                <a16:creationId xmlns:a16="http://schemas.microsoft.com/office/drawing/2014/main" id="{72999D8F-D6D0-4884-34E1-7D7E20E8DB77}"/>
              </a:ext>
            </a:extLst>
          </p:cNvPr>
          <p:cNvSpPr txBox="1"/>
          <p:nvPr/>
        </p:nvSpPr>
        <p:spPr>
          <a:xfrm>
            <a:off x="7872837" y="6282979"/>
            <a:ext cx="1454342"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UTANFÖR VIOL</a:t>
            </a:r>
          </a:p>
        </p:txBody>
      </p:sp>
      <p:sp>
        <p:nvSpPr>
          <p:cNvPr id="33" name="Rektangel: rundade hörn 32">
            <a:extLst>
              <a:ext uri="{FF2B5EF4-FFF2-40B4-BE49-F238E27FC236}">
                <a16:creationId xmlns:a16="http://schemas.microsoft.com/office/drawing/2014/main" id="{33FFED0C-62CA-033A-7DBE-AF0A92BDA73A}"/>
              </a:ext>
            </a:extLst>
          </p:cNvPr>
          <p:cNvSpPr/>
          <p:nvPr/>
        </p:nvSpPr>
        <p:spPr>
          <a:xfrm>
            <a:off x="3946453" y="2090072"/>
            <a:ext cx="2356262" cy="1222856"/>
          </a:xfrm>
          <a:prstGeom prst="roundRect">
            <a:avLst>
              <a:gd name="adj" fmla="val 7651"/>
            </a:avLst>
          </a:prstGeom>
          <a:noFill/>
          <a:ln w="28575">
            <a:solidFill>
              <a:srgbClr val="C00000"/>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cxnSp>
        <p:nvCxnSpPr>
          <p:cNvPr id="45" name="Rak pilkoppling 44">
            <a:extLst>
              <a:ext uri="{FF2B5EF4-FFF2-40B4-BE49-F238E27FC236}">
                <a16:creationId xmlns:a16="http://schemas.microsoft.com/office/drawing/2014/main" id="{A7B90A19-9B05-7647-ADFC-AA5DE26FAF07}"/>
              </a:ext>
            </a:extLst>
          </p:cNvPr>
          <p:cNvCxnSpPr>
            <a:cxnSpLocks/>
          </p:cNvCxnSpPr>
          <p:nvPr/>
        </p:nvCxnSpPr>
        <p:spPr>
          <a:xfrm flipV="1">
            <a:off x="7520877" y="3855924"/>
            <a:ext cx="0" cy="221881"/>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48" name="Rak pilkoppling 47">
            <a:extLst>
              <a:ext uri="{FF2B5EF4-FFF2-40B4-BE49-F238E27FC236}">
                <a16:creationId xmlns:a16="http://schemas.microsoft.com/office/drawing/2014/main" id="{8531BFF5-2A39-B806-2C59-BF3DC71CEAC1}"/>
              </a:ext>
            </a:extLst>
          </p:cNvPr>
          <p:cNvCxnSpPr>
            <a:cxnSpLocks/>
          </p:cNvCxnSpPr>
          <p:nvPr/>
        </p:nvCxnSpPr>
        <p:spPr>
          <a:xfrm flipH="1">
            <a:off x="7772727" y="3876453"/>
            <a:ext cx="3518" cy="264186"/>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2" name="Rak pilkoppling 51">
            <a:extLst>
              <a:ext uri="{FF2B5EF4-FFF2-40B4-BE49-F238E27FC236}">
                <a16:creationId xmlns:a16="http://schemas.microsoft.com/office/drawing/2014/main" id="{F9B5D1E1-B374-21AE-9E4B-658492DFDF8D}"/>
              </a:ext>
            </a:extLst>
          </p:cNvPr>
          <p:cNvCxnSpPr>
            <a:cxnSpLocks/>
          </p:cNvCxnSpPr>
          <p:nvPr/>
        </p:nvCxnSpPr>
        <p:spPr>
          <a:xfrm flipH="1">
            <a:off x="3160945" y="3873409"/>
            <a:ext cx="424666" cy="236213"/>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56" name="Rak pilkoppling 55">
            <a:extLst>
              <a:ext uri="{FF2B5EF4-FFF2-40B4-BE49-F238E27FC236}">
                <a16:creationId xmlns:a16="http://schemas.microsoft.com/office/drawing/2014/main" id="{314E7BA9-DAC1-49DB-AA76-D7606EE954BA}"/>
              </a:ext>
            </a:extLst>
          </p:cNvPr>
          <p:cNvCxnSpPr>
            <a:cxnSpLocks/>
          </p:cNvCxnSpPr>
          <p:nvPr/>
        </p:nvCxnSpPr>
        <p:spPr>
          <a:xfrm flipV="1">
            <a:off x="2852276" y="3869924"/>
            <a:ext cx="382513" cy="201519"/>
          </a:xfrm>
          <a:prstGeom prst="straightConnector1">
            <a:avLst/>
          </a:prstGeom>
          <a:ln w="28575">
            <a:solidFill>
              <a:schemeClr val="tx1"/>
            </a:solidFill>
            <a:tailEnd type="triangle"/>
          </a:ln>
        </p:spPr>
        <p:style>
          <a:lnRef idx="1">
            <a:schemeClr val="accent1"/>
          </a:lnRef>
          <a:fillRef idx="0">
            <a:schemeClr val="accent1"/>
          </a:fillRef>
          <a:effectRef idx="0">
            <a:schemeClr val="accent1"/>
          </a:effectRef>
          <a:fontRef idx="minor">
            <a:schemeClr val="tx1"/>
          </a:fontRef>
        </p:style>
      </p:cxnSp>
      <p:cxnSp>
        <p:nvCxnSpPr>
          <p:cNvPr id="63" name="Rak koppling 62">
            <a:extLst>
              <a:ext uri="{FF2B5EF4-FFF2-40B4-BE49-F238E27FC236}">
                <a16:creationId xmlns:a16="http://schemas.microsoft.com/office/drawing/2014/main" id="{1BCF9426-EC11-DD4B-FE10-51E493A98C91}"/>
              </a:ext>
            </a:extLst>
          </p:cNvPr>
          <p:cNvCxnSpPr>
            <a:cxnSpLocks/>
          </p:cNvCxnSpPr>
          <p:nvPr/>
        </p:nvCxnSpPr>
        <p:spPr>
          <a:xfrm>
            <a:off x="1555513" y="4541606"/>
            <a:ext cx="798161" cy="0"/>
          </a:xfrm>
          <a:prstGeom prst="line">
            <a:avLst/>
          </a:prstGeom>
          <a:ln w="19050">
            <a:solidFill>
              <a:srgbClr val="007B4F"/>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139383573"/>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ektangel: rundade hörn 7">
            <a:extLst>
              <a:ext uri="{FF2B5EF4-FFF2-40B4-BE49-F238E27FC236}">
                <a16:creationId xmlns:a16="http://schemas.microsoft.com/office/drawing/2014/main" id="{5DEDD716-476C-2EFF-3771-194040BB33A3}"/>
              </a:ext>
            </a:extLst>
          </p:cNvPr>
          <p:cNvSpPr/>
          <p:nvPr/>
        </p:nvSpPr>
        <p:spPr>
          <a:xfrm>
            <a:off x="5481772" y="1452895"/>
            <a:ext cx="2035233" cy="1212777"/>
          </a:xfrm>
          <a:prstGeom prst="roundRect">
            <a:avLst>
              <a:gd name="adj" fmla="val 7958"/>
            </a:avLst>
          </a:prstGeom>
          <a:solidFill>
            <a:srgbClr val="A2C617"/>
          </a:solidFill>
          <a:ln>
            <a:noFill/>
          </a:ln>
        </p:spPr>
        <p:style>
          <a:lnRef idx="2">
            <a:schemeClr val="accent2">
              <a:shade val="15000"/>
            </a:schemeClr>
          </a:lnRef>
          <a:fillRef idx="1">
            <a:schemeClr val="accent2"/>
          </a:fillRef>
          <a:effectRef idx="0">
            <a:schemeClr val="accent2"/>
          </a:effectRef>
          <a:fontRef idx="minor">
            <a:schemeClr val="lt1"/>
          </a:fontRef>
        </p:style>
        <p:txBody>
          <a:bodyPr tIns="72000" rIns="72000" bIns="180000" rtlCol="0" anchor="t"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VIOL lägger till referens- och verifikations-nummer i mätresultatet</a:t>
            </a:r>
          </a:p>
        </p:txBody>
      </p:sp>
      <p:sp>
        <p:nvSpPr>
          <p:cNvPr id="7" name="Rektangel: rundade hörn 6">
            <a:extLst>
              <a:ext uri="{FF2B5EF4-FFF2-40B4-BE49-F238E27FC236}">
                <a16:creationId xmlns:a16="http://schemas.microsoft.com/office/drawing/2014/main" id="{3433BB02-61BF-73CD-3502-0F429930C9F5}"/>
              </a:ext>
            </a:extLst>
          </p:cNvPr>
          <p:cNvSpPr/>
          <p:nvPr/>
        </p:nvSpPr>
        <p:spPr>
          <a:xfrm>
            <a:off x="959006" y="1429594"/>
            <a:ext cx="2118410" cy="1222277"/>
          </a:xfrm>
          <a:prstGeom prst="roundRect">
            <a:avLst>
              <a:gd name="adj" fmla="val 10281"/>
            </a:avLst>
          </a:prstGeom>
          <a:solidFill>
            <a:srgbClr val="A2C617"/>
          </a:solidFill>
          <a:ln>
            <a:noFill/>
          </a:ln>
        </p:spPr>
        <p:style>
          <a:lnRef idx="2">
            <a:schemeClr val="accent2">
              <a:shade val="15000"/>
            </a:schemeClr>
          </a:lnRef>
          <a:fillRef idx="1">
            <a:schemeClr val="accent2"/>
          </a:fillRef>
          <a:effectRef idx="0">
            <a:schemeClr val="accent2"/>
          </a:effectRef>
          <a:fontRef idx="minor">
            <a:schemeClr val="lt1"/>
          </a:fontRef>
        </p:style>
        <p:txBody>
          <a:bodyPr tIns="180000" rIns="432000" bIns="180000" rtlCol="0" anchor="ct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Referens och verifikation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000000"/>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nummer alt en ”flagga”* läggs till i Virkesorder av användaren</a:t>
            </a:r>
          </a:p>
        </p:txBody>
      </p:sp>
      <p:sp>
        <p:nvSpPr>
          <p:cNvPr id="4" name="Rubrik 3">
            <a:extLst>
              <a:ext uri="{FF2B5EF4-FFF2-40B4-BE49-F238E27FC236}">
                <a16:creationId xmlns:a16="http://schemas.microsoft.com/office/drawing/2014/main" id="{ECDF387A-ACAF-D835-E4E0-45C1A8E1AECF}"/>
              </a:ext>
            </a:extLst>
          </p:cNvPr>
          <p:cNvSpPr>
            <a:spLocks noGrp="1"/>
          </p:cNvSpPr>
          <p:nvPr>
            <p:ph type="title"/>
          </p:nvPr>
        </p:nvSpPr>
        <p:spPr/>
        <p:txBody>
          <a:bodyPr>
            <a:normAutofit/>
          </a:bodyPr>
          <a:lstStyle/>
          <a:p>
            <a:r>
              <a:rPr lang="sv-SE" spc="0"/>
              <a:t>SÅ HÄR STÖDS INFORMATIONSSPRIDNINGSPROCESSEN</a:t>
            </a:r>
          </a:p>
        </p:txBody>
      </p:sp>
      <p:grpSp>
        <p:nvGrpSpPr>
          <p:cNvPr id="114" name="Grupp 113">
            <a:extLst>
              <a:ext uri="{FF2B5EF4-FFF2-40B4-BE49-F238E27FC236}">
                <a16:creationId xmlns:a16="http://schemas.microsoft.com/office/drawing/2014/main" id="{306D29F9-EA71-4E6F-E836-2E17B9185EE7}"/>
              </a:ext>
            </a:extLst>
          </p:cNvPr>
          <p:cNvGrpSpPr/>
          <p:nvPr/>
        </p:nvGrpSpPr>
        <p:grpSpPr>
          <a:xfrm>
            <a:off x="2490917" y="2831068"/>
            <a:ext cx="1552831" cy="1443155"/>
            <a:chOff x="6056701" y="3417484"/>
            <a:chExt cx="1373184" cy="1284593"/>
          </a:xfrm>
        </p:grpSpPr>
        <p:pic>
          <p:nvPicPr>
            <p:cNvPr id="116" name="Bildobjekt 115">
              <a:extLst>
                <a:ext uri="{FF2B5EF4-FFF2-40B4-BE49-F238E27FC236}">
                  <a16:creationId xmlns:a16="http://schemas.microsoft.com/office/drawing/2014/main" id="{473BB603-B7F4-9DA2-2A35-5B0C717FF46B}"/>
                </a:ext>
              </a:extLst>
            </p:cNvPr>
            <p:cNvPicPr>
              <a:picLocks noChangeAspect="1"/>
            </p:cNvPicPr>
            <p:nvPr/>
          </p:nvPicPr>
          <p:blipFill>
            <a:blip r:embed="rId3"/>
            <a:srcRect/>
            <a:stretch/>
          </p:blipFill>
          <p:spPr>
            <a:xfrm>
              <a:off x="6056701" y="3417484"/>
              <a:ext cx="799085" cy="897704"/>
            </a:xfrm>
            <a:prstGeom prst="rect">
              <a:avLst/>
            </a:prstGeom>
          </p:spPr>
        </p:pic>
        <p:pic>
          <p:nvPicPr>
            <p:cNvPr id="115" name="Bildobjekt 114">
              <a:extLst>
                <a:ext uri="{FF2B5EF4-FFF2-40B4-BE49-F238E27FC236}">
                  <a16:creationId xmlns:a16="http://schemas.microsoft.com/office/drawing/2014/main" id="{2535FF60-4D57-F3A9-D1B1-2F200DE4F74E}"/>
                </a:ext>
              </a:extLst>
            </p:cNvPr>
            <p:cNvPicPr>
              <a:picLocks noChangeAspect="1"/>
            </p:cNvPicPr>
            <p:nvPr/>
          </p:nvPicPr>
          <p:blipFill>
            <a:blip r:embed="rId4"/>
            <a:srcRect/>
            <a:stretch/>
          </p:blipFill>
          <p:spPr>
            <a:xfrm>
              <a:off x="6739450" y="4022743"/>
              <a:ext cx="690435" cy="679334"/>
            </a:xfrm>
            <a:prstGeom prst="rect">
              <a:avLst/>
            </a:prstGeom>
          </p:spPr>
        </p:pic>
      </p:grpSp>
      <p:sp>
        <p:nvSpPr>
          <p:cNvPr id="117" name="Pil: höger 116">
            <a:extLst>
              <a:ext uri="{FF2B5EF4-FFF2-40B4-BE49-F238E27FC236}">
                <a16:creationId xmlns:a16="http://schemas.microsoft.com/office/drawing/2014/main" id="{78B8F750-D5B5-6B9C-B0C6-335A4DFE11DE}"/>
              </a:ext>
            </a:extLst>
          </p:cNvPr>
          <p:cNvSpPr/>
          <p:nvPr/>
        </p:nvSpPr>
        <p:spPr>
          <a:xfrm>
            <a:off x="3821724" y="3477279"/>
            <a:ext cx="733387" cy="237385"/>
          </a:xfrm>
          <a:prstGeom prst="rightArrow">
            <a:avLst/>
          </a:prstGeom>
          <a:solidFill>
            <a:srgbClr val="A2C6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119" name="textruta 118">
            <a:extLst>
              <a:ext uri="{FF2B5EF4-FFF2-40B4-BE49-F238E27FC236}">
                <a16:creationId xmlns:a16="http://schemas.microsoft.com/office/drawing/2014/main" id="{1A4BF412-8C2B-9BFE-6B7D-DF54318712A3}"/>
              </a:ext>
            </a:extLst>
          </p:cNvPr>
          <p:cNvSpPr txBox="1"/>
          <p:nvPr/>
        </p:nvSpPr>
        <p:spPr>
          <a:xfrm>
            <a:off x="5495095" y="3301005"/>
            <a:ext cx="2021911" cy="461665"/>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 Mätresultat/MTMT</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1 RNR/leverans</a:t>
            </a:r>
          </a:p>
        </p:txBody>
      </p:sp>
      <p:sp>
        <p:nvSpPr>
          <p:cNvPr id="120" name="textruta 119">
            <a:extLst>
              <a:ext uri="{FF2B5EF4-FFF2-40B4-BE49-F238E27FC236}">
                <a16:creationId xmlns:a16="http://schemas.microsoft.com/office/drawing/2014/main" id="{96F2D8C0-FA8C-ECC2-FD85-600755F1D44B}"/>
              </a:ext>
            </a:extLst>
          </p:cNvPr>
          <p:cNvSpPr txBox="1"/>
          <p:nvPr/>
        </p:nvSpPr>
        <p:spPr>
          <a:xfrm>
            <a:off x="3755022" y="3015614"/>
            <a:ext cx="1016559" cy="46166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a:ea typeface="+mn-ea"/>
                <a:cs typeface="+mn-cs"/>
              </a:rPr>
              <a:t>Kvantitet Sortiment</a:t>
            </a:r>
          </a:p>
        </p:txBody>
      </p:sp>
      <p:sp>
        <p:nvSpPr>
          <p:cNvPr id="124" name="Pil: höger 123">
            <a:extLst>
              <a:ext uri="{FF2B5EF4-FFF2-40B4-BE49-F238E27FC236}">
                <a16:creationId xmlns:a16="http://schemas.microsoft.com/office/drawing/2014/main" id="{D2D69661-CDA2-7232-7813-99E9C3DABEB7}"/>
              </a:ext>
            </a:extLst>
          </p:cNvPr>
          <p:cNvSpPr/>
          <p:nvPr/>
        </p:nvSpPr>
        <p:spPr>
          <a:xfrm>
            <a:off x="3821723" y="2002494"/>
            <a:ext cx="733387" cy="237385"/>
          </a:xfrm>
          <a:prstGeom prst="rightArrow">
            <a:avLst/>
          </a:prstGeom>
          <a:solidFill>
            <a:srgbClr val="A2C617"/>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sp>
        <p:nvSpPr>
          <p:cNvPr id="126" name="Höger klammerparentes 125">
            <a:extLst>
              <a:ext uri="{FF2B5EF4-FFF2-40B4-BE49-F238E27FC236}">
                <a16:creationId xmlns:a16="http://schemas.microsoft.com/office/drawing/2014/main" id="{5A7F610A-4E0B-CFD4-4F60-159867D1A45C}"/>
              </a:ext>
            </a:extLst>
          </p:cNvPr>
          <p:cNvSpPr/>
          <p:nvPr/>
        </p:nvSpPr>
        <p:spPr>
          <a:xfrm>
            <a:off x="4708452" y="1429594"/>
            <a:ext cx="458302" cy="2607323"/>
          </a:xfrm>
          <a:prstGeom prst="rightBrace">
            <a:avLst>
              <a:gd name="adj1" fmla="val 38162"/>
              <a:gd name="adj2" fmla="val 47995"/>
            </a:avLst>
          </a:prstGeom>
          <a:ln w="38100">
            <a:solidFill>
              <a:srgbClr val="A2C617"/>
            </a:solidFill>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000000"/>
              </a:solidFill>
              <a:effectLst/>
              <a:uLnTx/>
              <a:uFillTx/>
              <a:latin typeface="Noto Serif"/>
              <a:ea typeface="+mn-ea"/>
              <a:cs typeface="+mn-cs"/>
            </a:endParaRPr>
          </a:p>
        </p:txBody>
      </p:sp>
      <p:pic>
        <p:nvPicPr>
          <p:cNvPr id="139" name="Bildobjekt 138">
            <a:extLst>
              <a:ext uri="{FF2B5EF4-FFF2-40B4-BE49-F238E27FC236}">
                <a16:creationId xmlns:a16="http://schemas.microsoft.com/office/drawing/2014/main" id="{0BF6FCE0-73F6-F675-F02C-051E113A574A}"/>
              </a:ext>
            </a:extLst>
          </p:cNvPr>
          <p:cNvPicPr>
            <a:picLocks noChangeAspect="1"/>
          </p:cNvPicPr>
          <p:nvPr/>
        </p:nvPicPr>
        <p:blipFill>
          <a:blip r:embed="rId5"/>
          <a:srcRect/>
          <a:stretch/>
        </p:blipFill>
        <p:spPr>
          <a:xfrm>
            <a:off x="3443513" y="4985822"/>
            <a:ext cx="573826" cy="702644"/>
          </a:xfrm>
          <a:prstGeom prst="rect">
            <a:avLst/>
          </a:prstGeom>
        </p:spPr>
      </p:pic>
      <p:sp>
        <p:nvSpPr>
          <p:cNvPr id="144" name="textruta 143">
            <a:extLst>
              <a:ext uri="{FF2B5EF4-FFF2-40B4-BE49-F238E27FC236}">
                <a16:creationId xmlns:a16="http://schemas.microsoft.com/office/drawing/2014/main" id="{AD406CA8-A195-6D5A-44ED-E7CBF0E44357}"/>
              </a:ext>
            </a:extLst>
          </p:cNvPr>
          <p:cNvSpPr txBox="1"/>
          <p:nvPr/>
        </p:nvSpPr>
        <p:spPr>
          <a:xfrm>
            <a:off x="3816987" y="6062597"/>
            <a:ext cx="178293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Förstaledskontrakt</a:t>
            </a:r>
          </a:p>
        </p:txBody>
      </p:sp>
      <p:sp>
        <p:nvSpPr>
          <p:cNvPr id="149" name="textruta 148">
            <a:extLst>
              <a:ext uri="{FF2B5EF4-FFF2-40B4-BE49-F238E27FC236}">
                <a16:creationId xmlns:a16="http://schemas.microsoft.com/office/drawing/2014/main" id="{C4909140-34A0-37A7-320F-1D2B872EBB25}"/>
              </a:ext>
            </a:extLst>
          </p:cNvPr>
          <p:cNvSpPr txBox="1"/>
          <p:nvPr/>
        </p:nvSpPr>
        <p:spPr>
          <a:xfrm>
            <a:off x="5788423" y="6081661"/>
            <a:ext cx="15582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Köparekontrakt</a:t>
            </a:r>
            <a:endPar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sp>
        <p:nvSpPr>
          <p:cNvPr id="150" name="textruta 149">
            <a:extLst>
              <a:ext uri="{FF2B5EF4-FFF2-40B4-BE49-F238E27FC236}">
                <a16:creationId xmlns:a16="http://schemas.microsoft.com/office/drawing/2014/main" id="{17EA50D4-3A47-F0B4-E12E-C36A526235E2}"/>
              </a:ext>
            </a:extLst>
          </p:cNvPr>
          <p:cNvSpPr txBox="1"/>
          <p:nvPr/>
        </p:nvSpPr>
        <p:spPr>
          <a:xfrm>
            <a:off x="7720231" y="6062596"/>
            <a:ext cx="1558225"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err="1">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rPr>
              <a:t>Köparekontrakt</a:t>
            </a:r>
            <a:endParaRPr kumimoji="0" lang="sv-SE" sz="1200" b="0" i="0" u="none" strike="noStrike" kern="1200" cap="none" spc="0" normalizeH="0" baseline="0" noProof="0">
              <a:ln>
                <a:noFill/>
              </a:ln>
              <a:solidFill>
                <a:srgbClr val="FFFFFF"/>
              </a:solidFill>
              <a:effectLst/>
              <a:uLnTx/>
              <a:uFillTx/>
              <a:latin typeface="Open Sans SemiBold" panose="020B0706030804020204" pitchFamily="34" charset="0"/>
              <a:ea typeface="Open Sans SemiBold" panose="020B0706030804020204" pitchFamily="34" charset="0"/>
              <a:cs typeface="Open Sans SemiBold" panose="020B0706030804020204" pitchFamily="34" charset="0"/>
            </a:endParaRPr>
          </a:p>
        </p:txBody>
      </p:sp>
      <p:pic>
        <p:nvPicPr>
          <p:cNvPr id="151" name="Bildobjekt 150">
            <a:extLst>
              <a:ext uri="{FF2B5EF4-FFF2-40B4-BE49-F238E27FC236}">
                <a16:creationId xmlns:a16="http://schemas.microsoft.com/office/drawing/2014/main" id="{C1EEC266-8E37-04AB-4D36-08651DC4F276}"/>
              </a:ext>
            </a:extLst>
          </p:cNvPr>
          <p:cNvPicPr>
            <a:picLocks noChangeAspect="1"/>
          </p:cNvPicPr>
          <p:nvPr/>
        </p:nvPicPr>
        <p:blipFill>
          <a:blip r:embed="rId6"/>
          <a:srcRect/>
          <a:stretch/>
        </p:blipFill>
        <p:spPr>
          <a:xfrm>
            <a:off x="9932809" y="4953024"/>
            <a:ext cx="888657" cy="1089697"/>
          </a:xfrm>
          <a:prstGeom prst="rect">
            <a:avLst/>
          </a:prstGeom>
        </p:spPr>
      </p:pic>
      <p:cxnSp>
        <p:nvCxnSpPr>
          <p:cNvPr id="154" name="Rak pilkoppling 153">
            <a:extLst>
              <a:ext uri="{FF2B5EF4-FFF2-40B4-BE49-F238E27FC236}">
                <a16:creationId xmlns:a16="http://schemas.microsoft.com/office/drawing/2014/main" id="{46CA356C-6B11-8740-6F77-9E866724B2EE}"/>
              </a:ext>
            </a:extLst>
          </p:cNvPr>
          <p:cNvCxnSpPr>
            <a:cxnSpLocks/>
          </p:cNvCxnSpPr>
          <p:nvPr/>
        </p:nvCxnSpPr>
        <p:spPr>
          <a:xfrm flipH="1">
            <a:off x="5704659" y="3994459"/>
            <a:ext cx="509080" cy="792005"/>
          </a:xfrm>
          <a:prstGeom prst="straightConnector1">
            <a:avLst/>
          </a:prstGeom>
          <a:ln w="38100">
            <a:solidFill>
              <a:srgbClr val="A2C617"/>
            </a:solidFill>
            <a:tailEnd type="triangle"/>
          </a:ln>
        </p:spPr>
        <p:style>
          <a:lnRef idx="1">
            <a:schemeClr val="accent1"/>
          </a:lnRef>
          <a:fillRef idx="0">
            <a:schemeClr val="accent1"/>
          </a:fillRef>
          <a:effectRef idx="0">
            <a:schemeClr val="accent1"/>
          </a:effectRef>
          <a:fontRef idx="minor">
            <a:schemeClr val="tx1"/>
          </a:fontRef>
        </p:style>
      </p:cxnSp>
      <p:cxnSp>
        <p:nvCxnSpPr>
          <p:cNvPr id="155" name="Rak pilkoppling 154">
            <a:extLst>
              <a:ext uri="{FF2B5EF4-FFF2-40B4-BE49-F238E27FC236}">
                <a16:creationId xmlns:a16="http://schemas.microsoft.com/office/drawing/2014/main" id="{84A48ED2-1182-00D3-2A05-A3C2002CA5F7}"/>
              </a:ext>
            </a:extLst>
          </p:cNvPr>
          <p:cNvCxnSpPr>
            <a:cxnSpLocks/>
          </p:cNvCxnSpPr>
          <p:nvPr/>
        </p:nvCxnSpPr>
        <p:spPr>
          <a:xfrm>
            <a:off x="6836031" y="3994459"/>
            <a:ext cx="440986" cy="858974"/>
          </a:xfrm>
          <a:prstGeom prst="straightConnector1">
            <a:avLst/>
          </a:prstGeom>
          <a:ln w="38100">
            <a:solidFill>
              <a:srgbClr val="A2C617"/>
            </a:solidFill>
            <a:tailEnd type="triangle"/>
          </a:ln>
        </p:spPr>
        <p:style>
          <a:lnRef idx="1">
            <a:schemeClr val="accent1"/>
          </a:lnRef>
          <a:fillRef idx="0">
            <a:schemeClr val="accent1"/>
          </a:fillRef>
          <a:effectRef idx="0">
            <a:schemeClr val="accent1"/>
          </a:effectRef>
          <a:fontRef idx="minor">
            <a:schemeClr val="tx1"/>
          </a:fontRef>
        </p:style>
      </p:cxnSp>
      <p:cxnSp>
        <p:nvCxnSpPr>
          <p:cNvPr id="157" name="Rak pilkoppling 156">
            <a:extLst>
              <a:ext uri="{FF2B5EF4-FFF2-40B4-BE49-F238E27FC236}">
                <a16:creationId xmlns:a16="http://schemas.microsoft.com/office/drawing/2014/main" id="{177B1266-DE4F-60AB-EA8A-28641DEB6CBA}"/>
              </a:ext>
            </a:extLst>
          </p:cNvPr>
          <p:cNvCxnSpPr>
            <a:cxnSpLocks/>
          </p:cNvCxnSpPr>
          <p:nvPr/>
        </p:nvCxnSpPr>
        <p:spPr>
          <a:xfrm>
            <a:off x="7445373" y="3848775"/>
            <a:ext cx="1461452" cy="966978"/>
          </a:xfrm>
          <a:prstGeom prst="straightConnector1">
            <a:avLst/>
          </a:prstGeom>
          <a:ln w="38100">
            <a:solidFill>
              <a:srgbClr val="A2C617"/>
            </a:solidFill>
            <a:tailEnd type="triangle"/>
          </a:ln>
        </p:spPr>
        <p:style>
          <a:lnRef idx="1">
            <a:schemeClr val="accent1"/>
          </a:lnRef>
          <a:fillRef idx="0">
            <a:schemeClr val="accent1"/>
          </a:fillRef>
          <a:effectRef idx="0">
            <a:schemeClr val="accent1"/>
          </a:effectRef>
          <a:fontRef idx="minor">
            <a:schemeClr val="tx1"/>
          </a:fontRef>
        </p:style>
      </p:cxnSp>
      <p:cxnSp>
        <p:nvCxnSpPr>
          <p:cNvPr id="159" name="Rak pilkoppling 158">
            <a:extLst>
              <a:ext uri="{FF2B5EF4-FFF2-40B4-BE49-F238E27FC236}">
                <a16:creationId xmlns:a16="http://schemas.microsoft.com/office/drawing/2014/main" id="{B594313C-CF9F-3EB7-7D99-0128322598B0}"/>
              </a:ext>
            </a:extLst>
          </p:cNvPr>
          <p:cNvCxnSpPr>
            <a:cxnSpLocks/>
          </p:cNvCxnSpPr>
          <p:nvPr/>
        </p:nvCxnSpPr>
        <p:spPr>
          <a:xfrm flipH="1">
            <a:off x="4008318" y="3901168"/>
            <a:ext cx="1650581" cy="972410"/>
          </a:xfrm>
          <a:prstGeom prst="straightConnector1">
            <a:avLst/>
          </a:prstGeom>
          <a:ln w="38100">
            <a:solidFill>
              <a:srgbClr val="A2C617"/>
            </a:solidFill>
            <a:tailEnd type="triangle"/>
          </a:ln>
        </p:spPr>
        <p:style>
          <a:lnRef idx="1">
            <a:schemeClr val="accent1"/>
          </a:lnRef>
          <a:fillRef idx="0">
            <a:schemeClr val="accent1"/>
          </a:fillRef>
          <a:effectRef idx="0">
            <a:schemeClr val="accent1"/>
          </a:effectRef>
          <a:fontRef idx="minor">
            <a:schemeClr val="tx1"/>
          </a:fontRef>
        </p:style>
      </p:cxnSp>
      <p:pic>
        <p:nvPicPr>
          <p:cNvPr id="6" name="Bildobjekt 5">
            <a:extLst>
              <a:ext uri="{FF2B5EF4-FFF2-40B4-BE49-F238E27FC236}">
                <a16:creationId xmlns:a16="http://schemas.microsoft.com/office/drawing/2014/main" id="{C22FCE77-81A4-894F-F2C6-BE71557DC813}"/>
              </a:ext>
            </a:extLst>
          </p:cNvPr>
          <p:cNvPicPr>
            <a:picLocks noChangeAspect="1"/>
          </p:cNvPicPr>
          <p:nvPr/>
        </p:nvPicPr>
        <p:blipFill>
          <a:blip r:embed="rId7"/>
          <a:srcRect/>
          <a:stretch/>
        </p:blipFill>
        <p:spPr>
          <a:xfrm>
            <a:off x="2093381" y="5051503"/>
            <a:ext cx="1001025" cy="1016079"/>
          </a:xfrm>
          <a:prstGeom prst="rect">
            <a:avLst/>
          </a:prstGeom>
        </p:spPr>
      </p:pic>
      <p:sp>
        <p:nvSpPr>
          <p:cNvPr id="5" name="textruta 4">
            <a:extLst>
              <a:ext uri="{FF2B5EF4-FFF2-40B4-BE49-F238E27FC236}">
                <a16:creationId xmlns:a16="http://schemas.microsoft.com/office/drawing/2014/main" id="{E3722110-1DD3-6049-ECB8-660061E950D5}"/>
              </a:ext>
            </a:extLst>
          </p:cNvPr>
          <p:cNvSpPr txBox="1"/>
          <p:nvPr/>
        </p:nvSpPr>
        <p:spPr>
          <a:xfrm>
            <a:off x="475974" y="6497158"/>
            <a:ext cx="9899062"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sv-SE" sz="1000" b="0" i="0" u="none" strike="noStrike" kern="1200" cap="none" spc="0" normalizeH="0" baseline="0" noProof="0">
                <a:ln>
                  <a:noFill/>
                </a:ln>
                <a:solidFill>
                  <a:srgbClr val="FFFFFF"/>
                </a:solidFill>
                <a:effectLst/>
                <a:uLnTx/>
                <a:uFillTx/>
                <a:latin typeface="Noto Serif"/>
                <a:ea typeface="+mn-ea"/>
                <a:cs typeface="+mn-cs"/>
              </a:rPr>
              <a:t>*Flaggan betyder att användaren medvetet inte valt att lägga till något referens och verifikationsnummer (EUDR stöd ej begärt)</a:t>
            </a:r>
          </a:p>
        </p:txBody>
      </p:sp>
      <p:sp>
        <p:nvSpPr>
          <p:cNvPr id="122" name="textruta 121">
            <a:extLst>
              <a:ext uri="{FF2B5EF4-FFF2-40B4-BE49-F238E27FC236}">
                <a16:creationId xmlns:a16="http://schemas.microsoft.com/office/drawing/2014/main" id="{9DEEDCB4-237B-4136-9E67-5E0E146858D5}"/>
              </a:ext>
            </a:extLst>
          </p:cNvPr>
          <p:cNvSpPr txBox="1"/>
          <p:nvPr/>
        </p:nvSpPr>
        <p:spPr>
          <a:xfrm>
            <a:off x="3612112" y="1700887"/>
            <a:ext cx="1123100" cy="276999"/>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sv-SE" sz="1200" b="0" i="0" u="none" strike="noStrike" kern="1200" cap="none" spc="0" normalizeH="0" baseline="0" noProof="0">
                <a:ln>
                  <a:noFill/>
                </a:ln>
                <a:solidFill>
                  <a:srgbClr val="FFFFFF"/>
                </a:solidFill>
                <a:effectLst/>
                <a:uLnTx/>
                <a:uFillTx/>
                <a:latin typeface="Open Sans"/>
                <a:ea typeface="+mn-ea"/>
                <a:cs typeface="+mn-cs"/>
              </a:rPr>
              <a:t>Virkesorder</a:t>
            </a:r>
          </a:p>
        </p:txBody>
      </p:sp>
      <p:pic>
        <p:nvPicPr>
          <p:cNvPr id="12" name="Bildobjekt 11" descr="En bild som visar logotyp, symbol, Teckensnitt, Grafik&#10;&#10;Automatiskt genererad beskrivning">
            <a:extLst>
              <a:ext uri="{FF2B5EF4-FFF2-40B4-BE49-F238E27FC236}">
                <a16:creationId xmlns:a16="http://schemas.microsoft.com/office/drawing/2014/main" id="{48D33654-540B-8EE3-2125-2858E2181075}"/>
              </a:ext>
            </a:extLst>
          </p:cNvPr>
          <p:cNvPicPr>
            <a:picLocks noChangeAspect="1"/>
          </p:cNvPicPr>
          <p:nvPr/>
        </p:nvPicPr>
        <p:blipFill>
          <a:blip r:embed="rId8"/>
          <a:stretch>
            <a:fillRect/>
          </a:stretch>
        </p:blipFill>
        <p:spPr>
          <a:xfrm>
            <a:off x="4285576" y="4983402"/>
            <a:ext cx="971902" cy="1016080"/>
          </a:xfrm>
          <a:prstGeom prst="rect">
            <a:avLst/>
          </a:prstGeom>
        </p:spPr>
      </p:pic>
      <p:pic>
        <p:nvPicPr>
          <p:cNvPr id="13" name="Bildobjekt 12" descr="En bild som visar logotyp, symbol, Teckensnitt, Grafik&#10;&#10;Automatiskt genererad beskrivning">
            <a:extLst>
              <a:ext uri="{FF2B5EF4-FFF2-40B4-BE49-F238E27FC236}">
                <a16:creationId xmlns:a16="http://schemas.microsoft.com/office/drawing/2014/main" id="{0DAA5DAE-3720-114F-74B1-D5023591E1FB}"/>
              </a:ext>
            </a:extLst>
          </p:cNvPr>
          <p:cNvPicPr>
            <a:picLocks noChangeAspect="1"/>
          </p:cNvPicPr>
          <p:nvPr/>
        </p:nvPicPr>
        <p:blipFill>
          <a:blip r:embed="rId8"/>
          <a:stretch>
            <a:fillRect/>
          </a:stretch>
        </p:blipFill>
        <p:spPr>
          <a:xfrm>
            <a:off x="6170917" y="5012352"/>
            <a:ext cx="971902" cy="1016080"/>
          </a:xfrm>
          <a:prstGeom prst="rect">
            <a:avLst/>
          </a:prstGeom>
        </p:spPr>
      </p:pic>
      <p:pic>
        <p:nvPicPr>
          <p:cNvPr id="14" name="Bildobjekt 13" descr="En bild som visar logotyp, symbol, Teckensnitt, Grafik&#10;&#10;Automatiskt genererad beskrivning">
            <a:extLst>
              <a:ext uri="{FF2B5EF4-FFF2-40B4-BE49-F238E27FC236}">
                <a16:creationId xmlns:a16="http://schemas.microsoft.com/office/drawing/2014/main" id="{14D90083-6A29-1852-D289-98E8719AD983}"/>
              </a:ext>
            </a:extLst>
          </p:cNvPr>
          <p:cNvPicPr>
            <a:picLocks noChangeAspect="1"/>
          </p:cNvPicPr>
          <p:nvPr/>
        </p:nvPicPr>
        <p:blipFill>
          <a:blip r:embed="rId8"/>
          <a:stretch>
            <a:fillRect/>
          </a:stretch>
        </p:blipFill>
        <p:spPr>
          <a:xfrm>
            <a:off x="8051863" y="5031268"/>
            <a:ext cx="971902" cy="1016080"/>
          </a:xfrm>
          <a:prstGeom prst="rect">
            <a:avLst/>
          </a:prstGeom>
        </p:spPr>
      </p:pic>
      <p:pic>
        <p:nvPicPr>
          <p:cNvPr id="15" name="Bildobjekt 14">
            <a:extLst>
              <a:ext uri="{FF2B5EF4-FFF2-40B4-BE49-F238E27FC236}">
                <a16:creationId xmlns:a16="http://schemas.microsoft.com/office/drawing/2014/main" id="{CFA36BD2-7670-308A-0BEB-4A61710169D3}"/>
              </a:ext>
            </a:extLst>
          </p:cNvPr>
          <p:cNvPicPr>
            <a:picLocks noChangeAspect="1"/>
          </p:cNvPicPr>
          <p:nvPr/>
        </p:nvPicPr>
        <p:blipFill>
          <a:blip r:embed="rId5"/>
          <a:srcRect/>
          <a:stretch/>
        </p:blipFill>
        <p:spPr>
          <a:xfrm>
            <a:off x="5371986" y="5051708"/>
            <a:ext cx="573826" cy="702644"/>
          </a:xfrm>
          <a:prstGeom prst="rect">
            <a:avLst/>
          </a:prstGeom>
        </p:spPr>
      </p:pic>
      <p:pic>
        <p:nvPicPr>
          <p:cNvPr id="17" name="Bildobjekt 16">
            <a:extLst>
              <a:ext uri="{FF2B5EF4-FFF2-40B4-BE49-F238E27FC236}">
                <a16:creationId xmlns:a16="http://schemas.microsoft.com/office/drawing/2014/main" id="{13179E58-0B60-622A-EBE5-FC6E38C3B867}"/>
              </a:ext>
            </a:extLst>
          </p:cNvPr>
          <p:cNvPicPr>
            <a:picLocks noChangeAspect="1"/>
          </p:cNvPicPr>
          <p:nvPr/>
        </p:nvPicPr>
        <p:blipFill>
          <a:blip r:embed="rId5"/>
          <a:srcRect/>
          <a:stretch/>
        </p:blipFill>
        <p:spPr>
          <a:xfrm>
            <a:off x="7225416" y="5034905"/>
            <a:ext cx="573826" cy="702644"/>
          </a:xfrm>
          <a:prstGeom prst="rect">
            <a:avLst/>
          </a:prstGeom>
        </p:spPr>
      </p:pic>
      <p:pic>
        <p:nvPicPr>
          <p:cNvPr id="18" name="Bildobjekt 17">
            <a:extLst>
              <a:ext uri="{FF2B5EF4-FFF2-40B4-BE49-F238E27FC236}">
                <a16:creationId xmlns:a16="http://schemas.microsoft.com/office/drawing/2014/main" id="{01850783-1776-C77F-F004-C6EAB496DE0A}"/>
              </a:ext>
            </a:extLst>
          </p:cNvPr>
          <p:cNvPicPr>
            <a:picLocks noChangeAspect="1"/>
          </p:cNvPicPr>
          <p:nvPr/>
        </p:nvPicPr>
        <p:blipFill>
          <a:blip r:embed="rId5"/>
          <a:srcRect/>
          <a:stretch/>
        </p:blipFill>
        <p:spPr>
          <a:xfrm>
            <a:off x="9098250" y="5051503"/>
            <a:ext cx="573826" cy="702644"/>
          </a:xfrm>
          <a:prstGeom prst="rect">
            <a:avLst/>
          </a:prstGeom>
        </p:spPr>
      </p:pic>
      <p:grpSp>
        <p:nvGrpSpPr>
          <p:cNvPr id="23" name="Grupp 22">
            <a:extLst>
              <a:ext uri="{FF2B5EF4-FFF2-40B4-BE49-F238E27FC236}">
                <a16:creationId xmlns:a16="http://schemas.microsoft.com/office/drawing/2014/main" id="{68710E81-9ADB-6147-5728-3F8B5D461718}"/>
              </a:ext>
            </a:extLst>
          </p:cNvPr>
          <p:cNvGrpSpPr/>
          <p:nvPr/>
        </p:nvGrpSpPr>
        <p:grpSpPr>
          <a:xfrm>
            <a:off x="5937694" y="2120509"/>
            <a:ext cx="1136714" cy="1136714"/>
            <a:chOff x="7832153" y="2488071"/>
            <a:chExt cx="1136714" cy="1136714"/>
          </a:xfrm>
        </p:grpSpPr>
        <p:sp>
          <p:nvSpPr>
            <p:cNvPr id="22" name="Ellips 21">
              <a:extLst>
                <a:ext uri="{FF2B5EF4-FFF2-40B4-BE49-F238E27FC236}">
                  <a16:creationId xmlns:a16="http://schemas.microsoft.com/office/drawing/2014/main" id="{50A6001E-1427-3DF7-3615-130004E2A4F8}"/>
                </a:ext>
              </a:extLst>
            </p:cNvPr>
            <p:cNvSpPr/>
            <p:nvPr/>
          </p:nvSpPr>
          <p:spPr>
            <a:xfrm>
              <a:off x="7832153" y="2488071"/>
              <a:ext cx="1136714" cy="1136714"/>
            </a:xfrm>
            <a:prstGeom prst="ellipse">
              <a:avLst/>
            </a:prstGeom>
            <a:solidFill>
              <a:srgbClr val="007B4F"/>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pic>
          <p:nvPicPr>
            <p:cNvPr id="20" name="Bildobjekt 19" descr="En bild som visar logotyp, symbol, Teckensnitt, Grafik&#10;&#10;Automatiskt genererad beskrivning">
              <a:extLst>
                <a:ext uri="{FF2B5EF4-FFF2-40B4-BE49-F238E27FC236}">
                  <a16:creationId xmlns:a16="http://schemas.microsoft.com/office/drawing/2014/main" id="{B9F9E372-D9DE-7699-39BC-A3B0C1AB6BA2}"/>
                </a:ext>
              </a:extLst>
            </p:cNvPr>
            <p:cNvPicPr>
              <a:picLocks noChangeAspect="1"/>
            </p:cNvPicPr>
            <p:nvPr/>
          </p:nvPicPr>
          <p:blipFill rotWithShape="1">
            <a:blip r:embed="rId8"/>
            <a:srcRect l="-12641" r="-8836"/>
            <a:stretch/>
          </p:blipFill>
          <p:spPr>
            <a:xfrm>
              <a:off x="8084379" y="2721674"/>
              <a:ext cx="740235" cy="637060"/>
            </a:xfrm>
            <a:prstGeom prst="rect">
              <a:avLst/>
            </a:prstGeom>
            <a:noFill/>
          </p:spPr>
        </p:pic>
      </p:grpSp>
      <p:grpSp>
        <p:nvGrpSpPr>
          <p:cNvPr id="3" name="Grupp 2">
            <a:extLst>
              <a:ext uri="{FF2B5EF4-FFF2-40B4-BE49-F238E27FC236}">
                <a16:creationId xmlns:a16="http://schemas.microsoft.com/office/drawing/2014/main" id="{EA87966E-7E04-96B9-1DA1-FE7FFE7DBDEC}"/>
              </a:ext>
            </a:extLst>
          </p:cNvPr>
          <p:cNvGrpSpPr/>
          <p:nvPr/>
        </p:nvGrpSpPr>
        <p:grpSpPr>
          <a:xfrm>
            <a:off x="2596411" y="1486606"/>
            <a:ext cx="1136714" cy="1136714"/>
            <a:chOff x="7832153" y="2488071"/>
            <a:chExt cx="1136714" cy="1136714"/>
          </a:xfrm>
        </p:grpSpPr>
        <p:sp>
          <p:nvSpPr>
            <p:cNvPr id="9" name="Ellips 8">
              <a:extLst>
                <a:ext uri="{FF2B5EF4-FFF2-40B4-BE49-F238E27FC236}">
                  <a16:creationId xmlns:a16="http://schemas.microsoft.com/office/drawing/2014/main" id="{7DB0F4C9-E361-3BAD-8302-6D57710C44A9}"/>
                </a:ext>
              </a:extLst>
            </p:cNvPr>
            <p:cNvSpPr/>
            <p:nvPr/>
          </p:nvSpPr>
          <p:spPr>
            <a:xfrm>
              <a:off x="7832153" y="2488071"/>
              <a:ext cx="1136714" cy="1136714"/>
            </a:xfrm>
            <a:prstGeom prst="ellipse">
              <a:avLst/>
            </a:prstGeom>
            <a:solidFill>
              <a:srgbClr val="007B4F"/>
            </a:solidFill>
            <a:ln w="19050">
              <a:solidFill>
                <a:schemeClr val="bg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sv-SE" sz="1800" b="0" i="0" u="none" strike="noStrike" kern="1200" cap="none" spc="0" normalizeH="0" baseline="0" noProof="0">
                <a:ln>
                  <a:noFill/>
                </a:ln>
                <a:solidFill>
                  <a:srgbClr val="FFFFFF"/>
                </a:solidFill>
                <a:effectLst/>
                <a:uLnTx/>
                <a:uFillTx/>
                <a:latin typeface="Noto Serif"/>
                <a:ea typeface="+mn-ea"/>
                <a:cs typeface="+mn-cs"/>
              </a:endParaRPr>
            </a:p>
          </p:txBody>
        </p:sp>
        <p:pic>
          <p:nvPicPr>
            <p:cNvPr id="10" name="Bildobjekt 9" descr="En bild som visar logotyp, symbol, Teckensnitt, Grafik&#10;&#10;Automatiskt genererad beskrivning">
              <a:extLst>
                <a:ext uri="{FF2B5EF4-FFF2-40B4-BE49-F238E27FC236}">
                  <a16:creationId xmlns:a16="http://schemas.microsoft.com/office/drawing/2014/main" id="{F3C4C9AF-218D-25AF-D674-EB35B0A5A31C}"/>
                </a:ext>
              </a:extLst>
            </p:cNvPr>
            <p:cNvPicPr>
              <a:picLocks noChangeAspect="1"/>
            </p:cNvPicPr>
            <p:nvPr/>
          </p:nvPicPr>
          <p:blipFill rotWithShape="1">
            <a:blip r:embed="rId8"/>
            <a:srcRect l="-12641" r="-8836"/>
            <a:stretch/>
          </p:blipFill>
          <p:spPr>
            <a:xfrm>
              <a:off x="8084379" y="2721674"/>
              <a:ext cx="740235" cy="637060"/>
            </a:xfrm>
            <a:prstGeom prst="rect">
              <a:avLst/>
            </a:prstGeom>
            <a:noFill/>
          </p:spPr>
        </p:pic>
      </p:grpSp>
      <p:sp>
        <p:nvSpPr>
          <p:cNvPr id="11" name="Rektangel: rundade hörn 10">
            <a:extLst>
              <a:ext uri="{FF2B5EF4-FFF2-40B4-BE49-F238E27FC236}">
                <a16:creationId xmlns:a16="http://schemas.microsoft.com/office/drawing/2014/main" id="{53408FC6-2439-A6D1-E8C8-5C11C427C1B9}"/>
              </a:ext>
            </a:extLst>
          </p:cNvPr>
          <p:cNvSpPr/>
          <p:nvPr/>
        </p:nvSpPr>
        <p:spPr>
          <a:xfrm>
            <a:off x="8585100" y="1454438"/>
            <a:ext cx="2591182" cy="2056598"/>
          </a:xfrm>
          <a:prstGeom prst="roundRect">
            <a:avLst>
              <a:gd name="adj" fmla="val 5376"/>
            </a:avLst>
          </a:prstGeom>
          <a:noFill/>
          <a:ln>
            <a:solidFill>
              <a:schemeClr val="bg1"/>
            </a:solidFill>
          </a:ln>
        </p:spPr>
        <p:style>
          <a:lnRef idx="2">
            <a:schemeClr val="accent2">
              <a:shade val="15000"/>
            </a:schemeClr>
          </a:lnRef>
          <a:fillRef idx="1">
            <a:schemeClr val="accent2"/>
          </a:fillRef>
          <a:effectRef idx="0">
            <a:schemeClr val="accent2"/>
          </a:effectRef>
          <a:fontRef idx="minor">
            <a:schemeClr val="lt1"/>
          </a:fontRef>
        </p:style>
        <p:txBody>
          <a:bodyPr tIns="72000" rIns="72000" bIns="180000" rtlCol="0" anchor="t" anchorCtr="0"/>
          <a:lstStyle/>
          <a:p>
            <a:pPr marL="177800" marR="0" lvl="0" indent="-177800" algn="l" defTabSz="914400" rtl="0" eaLnBrk="1" fontAlgn="auto" latinLnBrk="0" hangingPunct="1">
              <a:lnSpc>
                <a:spcPct val="100000"/>
              </a:lnSpc>
              <a:spcBef>
                <a:spcPts val="0"/>
              </a:spcBef>
              <a:spcAft>
                <a:spcPts val="0"/>
              </a:spcAft>
              <a:buClrTx/>
              <a:buSzTx/>
              <a:buBlip>
                <a:blip r:embed="rId9"/>
              </a:buBlip>
              <a:tabLst/>
              <a:defRPr/>
            </a:pPr>
            <a:r>
              <a:rPr kumimoji="0" lang="sv-SE" sz="1200" b="0" i="0" u="none" strike="noStrike" kern="1200" cap="none" spc="0" normalizeH="0" baseline="0" noProof="0">
                <a:ln>
                  <a:noFill/>
                </a:ln>
                <a:solidFill>
                  <a:srgbClr val="FFFFFF"/>
                </a:solidFill>
                <a:effectLst/>
                <a:uLnTx/>
                <a:uFillTx/>
                <a:latin typeface="Open Sans"/>
                <a:ea typeface="+mn-ea"/>
                <a:cs typeface="+mn-cs"/>
              </a:rPr>
              <a:t>Både integrationskunder och användare av </a:t>
            </a:r>
            <a:r>
              <a:rPr kumimoji="0" lang="sv-SE" sz="1200" b="0" i="0" u="none" strike="noStrike" kern="1200" cap="none" spc="0" normalizeH="0" baseline="0" noProof="0" err="1">
                <a:ln>
                  <a:noFill/>
                </a:ln>
                <a:solidFill>
                  <a:srgbClr val="FFFFFF"/>
                </a:solidFill>
                <a:effectLst/>
                <a:uLnTx/>
                <a:uFillTx/>
                <a:latin typeface="Open Sans"/>
                <a:ea typeface="+mn-ea"/>
                <a:cs typeface="+mn-cs"/>
              </a:rPr>
              <a:t>VIOLs</a:t>
            </a:r>
            <a:r>
              <a:rPr kumimoji="0" lang="sv-SE" sz="1200" b="0" i="0" u="none" strike="noStrike" kern="1200" cap="none" spc="0" normalizeH="0" baseline="0" noProof="0">
                <a:ln>
                  <a:noFill/>
                </a:ln>
                <a:solidFill>
                  <a:srgbClr val="FFFFFF"/>
                </a:solidFill>
                <a:effectLst/>
                <a:uLnTx/>
                <a:uFillTx/>
                <a:latin typeface="Open Sans"/>
                <a:ea typeface="+mn-ea"/>
                <a:cs typeface="+mn-cs"/>
              </a:rPr>
              <a:t> användar-gränssnitt ska kunna lägga in referens- och verifikations-nummer eller flagga i virkesordern. </a:t>
            </a:r>
            <a:br>
              <a:rPr kumimoji="0" lang="sv-SE" sz="1200" b="0" i="0" u="none" strike="noStrike" kern="1200" cap="none" spc="0" normalizeH="0" baseline="0" noProof="0">
                <a:ln>
                  <a:noFill/>
                </a:ln>
                <a:solidFill>
                  <a:srgbClr val="FFFFFF"/>
                </a:solidFill>
                <a:effectLst/>
                <a:uLnTx/>
                <a:uFillTx/>
                <a:latin typeface="Open Sans"/>
                <a:ea typeface="+mn-ea"/>
                <a:cs typeface="+mn-cs"/>
              </a:rPr>
            </a:br>
            <a:endParaRPr kumimoji="0" lang="sv-SE" sz="1200" b="0" i="0" u="none" strike="noStrike" kern="1200" cap="none" spc="0" normalizeH="0" baseline="0" noProof="0">
              <a:ln>
                <a:noFill/>
              </a:ln>
              <a:solidFill>
                <a:srgbClr val="FFFFFF"/>
              </a:solidFill>
              <a:effectLst/>
              <a:uLnTx/>
              <a:uFillTx/>
              <a:latin typeface="Open Sans"/>
              <a:ea typeface="+mn-ea"/>
              <a:cs typeface="+mn-cs"/>
            </a:endParaRPr>
          </a:p>
          <a:p>
            <a:pPr marL="177800" marR="0" lvl="0" indent="-177800" algn="l" defTabSz="914400" rtl="0" eaLnBrk="1" fontAlgn="auto" latinLnBrk="0" hangingPunct="1">
              <a:lnSpc>
                <a:spcPct val="100000"/>
              </a:lnSpc>
              <a:spcBef>
                <a:spcPts val="0"/>
              </a:spcBef>
              <a:spcAft>
                <a:spcPts val="0"/>
              </a:spcAft>
              <a:buClrTx/>
              <a:buSzTx/>
              <a:buBlip>
                <a:blip r:embed="rId9"/>
              </a:buBlip>
              <a:tabLst/>
              <a:defRPr/>
            </a:pPr>
            <a:r>
              <a:rPr kumimoji="0" lang="sv-SE" sz="1200" b="0" i="0" u="none" strike="noStrike" kern="1200" cap="none" spc="0" normalizeH="0" baseline="0" noProof="0">
                <a:ln>
                  <a:noFill/>
                </a:ln>
                <a:solidFill>
                  <a:srgbClr val="FFFFFF"/>
                </a:solidFill>
                <a:effectLst/>
                <a:uLnTx/>
                <a:uFillTx/>
                <a:latin typeface="Open Sans"/>
                <a:ea typeface="+mn-ea"/>
                <a:cs typeface="+mn-cs"/>
              </a:rPr>
              <a:t>Alla parter i affärsledskedjan ska kunna ta del då mätning utförts.</a:t>
            </a:r>
          </a:p>
        </p:txBody>
      </p:sp>
      <p:sp>
        <p:nvSpPr>
          <p:cNvPr id="2" name="textruta 1">
            <a:extLst>
              <a:ext uri="{FF2B5EF4-FFF2-40B4-BE49-F238E27FC236}">
                <a16:creationId xmlns:a16="http://schemas.microsoft.com/office/drawing/2014/main" id="{E1459134-FA11-D217-16A5-1FE912CA33B3}"/>
              </a:ext>
            </a:extLst>
          </p:cNvPr>
          <p:cNvSpPr txBox="1"/>
          <p:nvPr/>
        </p:nvSpPr>
        <p:spPr>
          <a:xfrm rot="20336733">
            <a:off x="142565" y="3483571"/>
            <a:ext cx="2522712" cy="1200329"/>
          </a:xfrm>
          <a:prstGeom prst="rect">
            <a:avLst/>
          </a:prstGeom>
          <a:noFill/>
          <a:ln w="28575">
            <a:solidFill>
              <a:srgbClr val="FF0000"/>
            </a:solidFill>
          </a:ln>
        </p:spPr>
        <p:txBody>
          <a:bodyPr wrap="square" rtlCol="0">
            <a:spAutoFit/>
          </a:bodyPr>
          <a:lstStyle/>
          <a:p>
            <a:r>
              <a:rPr lang="sv-SE">
                <a:solidFill>
                  <a:schemeClr val="bg1"/>
                </a:solidFill>
              </a:rPr>
              <a:t>OBS! Uppgifterna är obligatoriska från 30 december 2024 i VIOL 2</a:t>
            </a:r>
          </a:p>
        </p:txBody>
      </p:sp>
    </p:spTree>
    <p:extLst>
      <p:ext uri="{BB962C8B-B14F-4D97-AF65-F5344CB8AC3E}">
        <p14:creationId xmlns:p14="http://schemas.microsoft.com/office/powerpoint/2010/main" val="136101354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4">
            <a:extLst>
              <a:ext uri="{FF2B5EF4-FFF2-40B4-BE49-F238E27FC236}">
                <a16:creationId xmlns:a16="http://schemas.microsoft.com/office/drawing/2014/main" id="{2B7C39B3-B4E4-193C-E41D-CE086B7F741A}"/>
              </a:ext>
            </a:extLst>
          </p:cNvPr>
          <p:cNvSpPr>
            <a:spLocks noGrp="1"/>
          </p:cNvSpPr>
          <p:nvPr>
            <p:ph type="title"/>
          </p:nvPr>
        </p:nvSpPr>
        <p:spPr>
          <a:xfrm>
            <a:off x="992109" y="297462"/>
            <a:ext cx="10515600" cy="895285"/>
          </a:xfrm>
        </p:spPr>
        <p:txBody>
          <a:bodyPr/>
          <a:lstStyle/>
          <a:p>
            <a:r>
              <a:rPr lang="sv-SE" spc="0"/>
              <a:t>HUR FÖRHÅLLER SIG INFORMATIONEN I VIRKESORDERN TILL INFORMATIONEN I MÄTNINGARNA?</a:t>
            </a:r>
          </a:p>
        </p:txBody>
      </p:sp>
      <p:cxnSp>
        <p:nvCxnSpPr>
          <p:cNvPr id="10" name="Rak pilkoppling 9">
            <a:extLst>
              <a:ext uri="{FF2B5EF4-FFF2-40B4-BE49-F238E27FC236}">
                <a16:creationId xmlns:a16="http://schemas.microsoft.com/office/drawing/2014/main" id="{08281347-DA16-0A11-EC9F-DEAFD0DD0A18}"/>
              </a:ext>
            </a:extLst>
          </p:cNvPr>
          <p:cNvCxnSpPr>
            <a:cxnSpLocks/>
          </p:cNvCxnSpPr>
          <p:nvPr/>
        </p:nvCxnSpPr>
        <p:spPr>
          <a:xfrm>
            <a:off x="2324472" y="3069125"/>
            <a:ext cx="6292158" cy="0"/>
          </a:xfrm>
          <a:prstGeom prst="straightConnector1">
            <a:avLst/>
          </a:prstGeom>
          <a:ln>
            <a:tailEnd type="triangle"/>
          </a:ln>
        </p:spPr>
        <p:style>
          <a:lnRef idx="1">
            <a:schemeClr val="accent1"/>
          </a:lnRef>
          <a:fillRef idx="0">
            <a:schemeClr val="accent1"/>
          </a:fillRef>
          <a:effectRef idx="0">
            <a:schemeClr val="accent1"/>
          </a:effectRef>
          <a:fontRef idx="minor">
            <a:schemeClr val="tx1"/>
          </a:fontRef>
        </p:style>
      </p:cxnSp>
      <p:sp>
        <p:nvSpPr>
          <p:cNvPr id="13" name="textruta 12">
            <a:extLst>
              <a:ext uri="{FF2B5EF4-FFF2-40B4-BE49-F238E27FC236}">
                <a16:creationId xmlns:a16="http://schemas.microsoft.com/office/drawing/2014/main" id="{98BAC04F-653E-98A4-39A6-BC6A8DB989A1}"/>
              </a:ext>
            </a:extLst>
          </p:cNvPr>
          <p:cNvSpPr txBox="1"/>
          <p:nvPr/>
        </p:nvSpPr>
        <p:spPr>
          <a:xfrm>
            <a:off x="8793926" y="2904161"/>
            <a:ext cx="1566249" cy="369332"/>
          </a:xfrm>
          <a:prstGeom prst="rect">
            <a:avLst/>
          </a:prstGeom>
          <a:noFill/>
        </p:spPr>
        <p:txBody>
          <a:bodyPr wrap="square" rtlCol="0">
            <a:spAutoFit/>
          </a:bodyPr>
          <a:lstStyle/>
          <a:p>
            <a:r>
              <a:rPr lang="sv-SE"/>
              <a:t>Tidslinje</a:t>
            </a:r>
          </a:p>
        </p:txBody>
      </p:sp>
      <p:sp>
        <p:nvSpPr>
          <p:cNvPr id="14" name="Rektangel 13">
            <a:extLst>
              <a:ext uri="{FF2B5EF4-FFF2-40B4-BE49-F238E27FC236}">
                <a16:creationId xmlns:a16="http://schemas.microsoft.com/office/drawing/2014/main" id="{01CD8536-81FF-2B45-B45B-E13A58F7847B}"/>
              </a:ext>
            </a:extLst>
          </p:cNvPr>
          <p:cNvSpPr/>
          <p:nvPr/>
        </p:nvSpPr>
        <p:spPr>
          <a:xfrm>
            <a:off x="3601010" y="3605691"/>
            <a:ext cx="1068310" cy="776987"/>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Mätresultat saknar EUDR referenser</a:t>
            </a:r>
          </a:p>
        </p:txBody>
      </p:sp>
      <p:cxnSp>
        <p:nvCxnSpPr>
          <p:cNvPr id="16" name="Rak koppling 15">
            <a:extLst>
              <a:ext uri="{FF2B5EF4-FFF2-40B4-BE49-F238E27FC236}">
                <a16:creationId xmlns:a16="http://schemas.microsoft.com/office/drawing/2014/main" id="{49C95820-7D01-8AA3-5C4D-2FC5DD9CD60E}"/>
              </a:ext>
            </a:extLst>
          </p:cNvPr>
          <p:cNvCxnSpPr/>
          <p:nvPr/>
        </p:nvCxnSpPr>
        <p:spPr>
          <a:xfrm>
            <a:off x="2487434" y="2929726"/>
            <a:ext cx="0" cy="369332"/>
          </a:xfrm>
          <a:prstGeom prst="line">
            <a:avLst/>
          </a:prstGeom>
        </p:spPr>
        <p:style>
          <a:lnRef idx="1">
            <a:schemeClr val="accent1"/>
          </a:lnRef>
          <a:fillRef idx="0">
            <a:schemeClr val="accent1"/>
          </a:fillRef>
          <a:effectRef idx="0">
            <a:schemeClr val="accent1"/>
          </a:effectRef>
          <a:fontRef idx="minor">
            <a:schemeClr val="tx1"/>
          </a:fontRef>
        </p:style>
      </p:cxnSp>
      <p:sp>
        <p:nvSpPr>
          <p:cNvPr id="17" name="textruta 16">
            <a:extLst>
              <a:ext uri="{FF2B5EF4-FFF2-40B4-BE49-F238E27FC236}">
                <a16:creationId xmlns:a16="http://schemas.microsoft.com/office/drawing/2014/main" id="{EF5B824E-D425-F60E-E7A5-3E9C680E6D9E}"/>
              </a:ext>
            </a:extLst>
          </p:cNvPr>
          <p:cNvSpPr txBox="1"/>
          <p:nvPr/>
        </p:nvSpPr>
        <p:spPr>
          <a:xfrm>
            <a:off x="1962342" y="1883891"/>
            <a:ext cx="1404777" cy="738664"/>
          </a:xfrm>
          <a:prstGeom prst="rect">
            <a:avLst/>
          </a:prstGeom>
          <a:noFill/>
          <a:ln>
            <a:solidFill>
              <a:schemeClr val="tx2"/>
            </a:solidFill>
          </a:ln>
        </p:spPr>
        <p:txBody>
          <a:bodyPr wrap="square" rtlCol="0">
            <a:spAutoFit/>
          </a:bodyPr>
          <a:lstStyle/>
          <a:p>
            <a:r>
              <a:rPr lang="sv-SE" sz="1400"/>
              <a:t>VO upprättas utan EUDR referenser</a:t>
            </a:r>
          </a:p>
        </p:txBody>
      </p:sp>
      <p:cxnSp>
        <p:nvCxnSpPr>
          <p:cNvPr id="19" name="Rak koppling 18">
            <a:extLst>
              <a:ext uri="{FF2B5EF4-FFF2-40B4-BE49-F238E27FC236}">
                <a16:creationId xmlns:a16="http://schemas.microsoft.com/office/drawing/2014/main" id="{587FC284-AE36-3D96-DF9D-E7B2CACE41B5}"/>
              </a:ext>
            </a:extLst>
          </p:cNvPr>
          <p:cNvCxnSpPr/>
          <p:nvPr/>
        </p:nvCxnSpPr>
        <p:spPr>
          <a:xfrm>
            <a:off x="4524464" y="2978590"/>
            <a:ext cx="0" cy="369332"/>
          </a:xfrm>
          <a:prstGeom prst="line">
            <a:avLst/>
          </a:prstGeom>
        </p:spPr>
        <p:style>
          <a:lnRef idx="1">
            <a:schemeClr val="accent1"/>
          </a:lnRef>
          <a:fillRef idx="0">
            <a:schemeClr val="accent1"/>
          </a:fillRef>
          <a:effectRef idx="0">
            <a:schemeClr val="accent1"/>
          </a:effectRef>
          <a:fontRef idx="minor">
            <a:schemeClr val="tx1"/>
          </a:fontRef>
        </p:style>
      </p:cxnSp>
      <p:sp>
        <p:nvSpPr>
          <p:cNvPr id="20" name="textruta 19">
            <a:extLst>
              <a:ext uri="{FF2B5EF4-FFF2-40B4-BE49-F238E27FC236}">
                <a16:creationId xmlns:a16="http://schemas.microsoft.com/office/drawing/2014/main" id="{4B7CC1D2-588A-8A55-2DF7-688582E7F097}"/>
              </a:ext>
            </a:extLst>
          </p:cNvPr>
          <p:cNvSpPr txBox="1"/>
          <p:nvPr/>
        </p:nvSpPr>
        <p:spPr>
          <a:xfrm>
            <a:off x="4039355" y="1889958"/>
            <a:ext cx="1404775" cy="523220"/>
          </a:xfrm>
          <a:prstGeom prst="rect">
            <a:avLst/>
          </a:prstGeom>
          <a:noFill/>
          <a:ln>
            <a:solidFill>
              <a:schemeClr val="tx2"/>
            </a:solidFill>
          </a:ln>
        </p:spPr>
        <p:txBody>
          <a:bodyPr wrap="square" rtlCol="0">
            <a:spAutoFit/>
          </a:bodyPr>
          <a:lstStyle/>
          <a:p>
            <a:r>
              <a:rPr lang="sv-SE" sz="1400"/>
              <a:t>Inmätning påbörjas</a:t>
            </a:r>
          </a:p>
        </p:txBody>
      </p:sp>
      <p:cxnSp>
        <p:nvCxnSpPr>
          <p:cNvPr id="23" name="Rak koppling 22">
            <a:extLst>
              <a:ext uri="{FF2B5EF4-FFF2-40B4-BE49-F238E27FC236}">
                <a16:creationId xmlns:a16="http://schemas.microsoft.com/office/drawing/2014/main" id="{1D256BEF-62FD-27A2-89A5-9FF4E55A0F03}"/>
              </a:ext>
            </a:extLst>
          </p:cNvPr>
          <p:cNvCxnSpPr/>
          <p:nvPr/>
        </p:nvCxnSpPr>
        <p:spPr>
          <a:xfrm>
            <a:off x="6695787" y="2929726"/>
            <a:ext cx="0" cy="369332"/>
          </a:xfrm>
          <a:prstGeom prst="line">
            <a:avLst/>
          </a:prstGeom>
        </p:spPr>
        <p:style>
          <a:lnRef idx="1">
            <a:schemeClr val="accent1"/>
          </a:lnRef>
          <a:fillRef idx="0">
            <a:schemeClr val="accent1"/>
          </a:fillRef>
          <a:effectRef idx="0">
            <a:schemeClr val="accent1"/>
          </a:effectRef>
          <a:fontRef idx="minor">
            <a:schemeClr val="tx1"/>
          </a:fontRef>
        </p:style>
      </p:cxnSp>
      <p:sp>
        <p:nvSpPr>
          <p:cNvPr id="24" name="textruta 23">
            <a:extLst>
              <a:ext uri="{FF2B5EF4-FFF2-40B4-BE49-F238E27FC236}">
                <a16:creationId xmlns:a16="http://schemas.microsoft.com/office/drawing/2014/main" id="{D77EF4E5-3BA7-9E9D-B46E-D9FBF683DB79}"/>
              </a:ext>
            </a:extLst>
          </p:cNvPr>
          <p:cNvSpPr txBox="1"/>
          <p:nvPr/>
        </p:nvSpPr>
        <p:spPr>
          <a:xfrm>
            <a:off x="6116366" y="1885086"/>
            <a:ext cx="1404794" cy="954107"/>
          </a:xfrm>
          <a:prstGeom prst="rect">
            <a:avLst/>
          </a:prstGeom>
          <a:noFill/>
          <a:ln>
            <a:solidFill>
              <a:schemeClr val="tx2"/>
            </a:solidFill>
          </a:ln>
        </p:spPr>
        <p:txBody>
          <a:bodyPr wrap="square" rtlCol="0">
            <a:spAutoFit/>
          </a:bodyPr>
          <a:lstStyle/>
          <a:p>
            <a:r>
              <a:rPr lang="sv-SE" sz="1400"/>
              <a:t>VO kompletteras med EUDR referenser</a:t>
            </a:r>
          </a:p>
        </p:txBody>
      </p:sp>
      <p:sp>
        <p:nvSpPr>
          <p:cNvPr id="25" name="Rektangel 24">
            <a:extLst>
              <a:ext uri="{FF2B5EF4-FFF2-40B4-BE49-F238E27FC236}">
                <a16:creationId xmlns:a16="http://schemas.microsoft.com/office/drawing/2014/main" id="{7E1587B3-858A-C62B-94DA-D515058A30C1}"/>
              </a:ext>
            </a:extLst>
          </p:cNvPr>
          <p:cNvSpPr/>
          <p:nvPr/>
        </p:nvSpPr>
        <p:spPr>
          <a:xfrm>
            <a:off x="3753410" y="3758091"/>
            <a:ext cx="1068310" cy="776987"/>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Mätresultat saknar EUDR referenser</a:t>
            </a:r>
          </a:p>
        </p:txBody>
      </p:sp>
      <p:sp>
        <p:nvSpPr>
          <p:cNvPr id="26" name="Rektangel 25">
            <a:extLst>
              <a:ext uri="{FF2B5EF4-FFF2-40B4-BE49-F238E27FC236}">
                <a16:creationId xmlns:a16="http://schemas.microsoft.com/office/drawing/2014/main" id="{37B9CEFC-AD33-EB62-4265-C9205D61BBBF}"/>
              </a:ext>
            </a:extLst>
          </p:cNvPr>
          <p:cNvSpPr/>
          <p:nvPr/>
        </p:nvSpPr>
        <p:spPr>
          <a:xfrm>
            <a:off x="3905810" y="3910491"/>
            <a:ext cx="1068310" cy="776987"/>
          </a:xfrm>
          <a:prstGeom prst="rect">
            <a:avLst/>
          </a:prstGeom>
          <a:solidFill>
            <a:srgbClr val="FF0000"/>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Mätresultat saknar EUDR referenser</a:t>
            </a:r>
          </a:p>
        </p:txBody>
      </p:sp>
      <p:sp>
        <p:nvSpPr>
          <p:cNvPr id="27" name="Rektangel 26">
            <a:extLst>
              <a:ext uri="{FF2B5EF4-FFF2-40B4-BE49-F238E27FC236}">
                <a16:creationId xmlns:a16="http://schemas.microsoft.com/office/drawing/2014/main" id="{670B41A8-2D13-B3B2-FE00-21E21EC25566}"/>
              </a:ext>
            </a:extLst>
          </p:cNvPr>
          <p:cNvSpPr/>
          <p:nvPr/>
        </p:nvSpPr>
        <p:spPr>
          <a:xfrm>
            <a:off x="6116366" y="3549033"/>
            <a:ext cx="1068310" cy="776987"/>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Nya mätresultat har EUDR referenser</a:t>
            </a:r>
          </a:p>
        </p:txBody>
      </p:sp>
      <p:sp>
        <p:nvSpPr>
          <p:cNvPr id="28" name="Rektangel 27">
            <a:extLst>
              <a:ext uri="{FF2B5EF4-FFF2-40B4-BE49-F238E27FC236}">
                <a16:creationId xmlns:a16="http://schemas.microsoft.com/office/drawing/2014/main" id="{6BA7A691-7470-0405-A9B0-18F17AE80317}"/>
              </a:ext>
            </a:extLst>
          </p:cNvPr>
          <p:cNvSpPr/>
          <p:nvPr/>
        </p:nvSpPr>
        <p:spPr>
          <a:xfrm>
            <a:off x="6268766" y="3701433"/>
            <a:ext cx="1068310" cy="776987"/>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Nya mätresultat har EUDR referenser</a:t>
            </a:r>
          </a:p>
        </p:txBody>
      </p:sp>
      <p:sp>
        <p:nvSpPr>
          <p:cNvPr id="29" name="Rektangel 28">
            <a:extLst>
              <a:ext uri="{FF2B5EF4-FFF2-40B4-BE49-F238E27FC236}">
                <a16:creationId xmlns:a16="http://schemas.microsoft.com/office/drawing/2014/main" id="{BC3839E0-FC4E-43AD-43C1-42ED21B4FC8C}"/>
              </a:ext>
            </a:extLst>
          </p:cNvPr>
          <p:cNvSpPr/>
          <p:nvPr/>
        </p:nvSpPr>
        <p:spPr>
          <a:xfrm>
            <a:off x="6421166" y="3853833"/>
            <a:ext cx="1068310" cy="776987"/>
          </a:xfrm>
          <a:prstGeom prst="rect">
            <a:avLst/>
          </a:prstGeom>
          <a:solidFill>
            <a:schemeClr val="accent1">
              <a:lumMod val="75000"/>
            </a:schemeClr>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sv-SE" sz="1200"/>
              <a:t>Nya mätresultat har EUDR referenser</a:t>
            </a:r>
          </a:p>
        </p:txBody>
      </p:sp>
      <p:sp>
        <p:nvSpPr>
          <p:cNvPr id="30" name="textruta 29">
            <a:extLst>
              <a:ext uri="{FF2B5EF4-FFF2-40B4-BE49-F238E27FC236}">
                <a16:creationId xmlns:a16="http://schemas.microsoft.com/office/drawing/2014/main" id="{04D76505-8897-6C39-4E49-BA07D7A1E9E6}"/>
              </a:ext>
            </a:extLst>
          </p:cNvPr>
          <p:cNvSpPr txBox="1"/>
          <p:nvPr/>
        </p:nvSpPr>
        <p:spPr>
          <a:xfrm>
            <a:off x="4741742" y="5712658"/>
            <a:ext cx="2175847" cy="738664"/>
          </a:xfrm>
          <a:prstGeom prst="rect">
            <a:avLst/>
          </a:prstGeom>
          <a:noFill/>
          <a:ln>
            <a:solidFill>
              <a:schemeClr val="tx2"/>
            </a:solidFill>
          </a:ln>
        </p:spPr>
        <p:txBody>
          <a:bodyPr wrap="square" rtlCol="0">
            <a:spAutoFit/>
          </a:bodyPr>
          <a:lstStyle/>
          <a:p>
            <a:r>
              <a:rPr lang="sv-SE" sz="1400"/>
              <a:t>Äldre mätresultat kan kompletteras manuellt genom </a:t>
            </a:r>
            <a:r>
              <a:rPr lang="sv-SE" sz="1400" err="1"/>
              <a:t>omredovisning</a:t>
            </a:r>
            <a:endParaRPr lang="sv-SE" sz="1400"/>
          </a:p>
        </p:txBody>
      </p:sp>
      <p:cxnSp>
        <p:nvCxnSpPr>
          <p:cNvPr id="33" name="Rak pilkoppling 32">
            <a:extLst>
              <a:ext uri="{FF2B5EF4-FFF2-40B4-BE49-F238E27FC236}">
                <a16:creationId xmlns:a16="http://schemas.microsoft.com/office/drawing/2014/main" id="{C3C6F581-371E-0FFF-9D55-6ADF7AD8BDC3}"/>
              </a:ext>
            </a:extLst>
          </p:cNvPr>
          <p:cNvCxnSpPr>
            <a:cxnSpLocks/>
          </p:cNvCxnSpPr>
          <p:nvPr/>
        </p:nvCxnSpPr>
        <p:spPr>
          <a:xfrm flipH="1" flipV="1">
            <a:off x="5126520" y="4945504"/>
            <a:ext cx="531896" cy="549949"/>
          </a:xfrm>
          <a:prstGeom prst="straightConnector1">
            <a:avLst/>
          </a:prstGeom>
          <a:ln>
            <a:tailEnd type="triangle"/>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3151779336"/>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tema">
  <a:themeElements>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fontScheme name="Anpassat 2">
      <a:majorFont>
        <a:latin typeface="Open Sans"/>
        <a:ea typeface=""/>
        <a:cs typeface=""/>
      </a:majorFont>
      <a:minorFont>
        <a:latin typeface="Noto Serif"/>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Biometria mars nytt förslag 2024.potx" id="{AC200C72-73AB-42CB-B348-AF656B199DE3}" vid="{F5F9E9A0-24E6-4991-98C9-FCF1C2BB003A}"/>
    </a:ext>
  </a:extLst>
</a:theme>
</file>

<file path=ppt/theme/theme2.xml><?xml version="1.0" encoding="utf-8"?>
<a:theme xmlns:a="http://schemas.openxmlformats.org/drawingml/2006/main" name="2_Office-tema">
  <a:themeElements>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onsmall Biometria oktober 2022" id="{25D3BB66-EB4A-43AD-94DE-B3A6CE25BE07}" vid="{6EA05DEA-5033-4964-A6CA-F55F0AAB5E7C}"/>
    </a:ext>
  </a:ext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0E2841"/>
      </a:dk2>
      <a:lt2>
        <a:srgbClr val="E8E8E8"/>
      </a:lt2>
      <a:accent1>
        <a:srgbClr val="156082"/>
      </a:accent1>
      <a:accent2>
        <a:srgbClr val="E97132"/>
      </a:accent2>
      <a:accent3>
        <a:srgbClr val="196B24"/>
      </a:accent3>
      <a:accent4>
        <a:srgbClr val="0F9ED5"/>
      </a:accent4>
      <a:accent5>
        <a:srgbClr val="A02B93"/>
      </a:accent5>
      <a:accent6>
        <a:srgbClr val="4EA72E"/>
      </a:accent6>
      <a:hlink>
        <a:srgbClr val="467886"/>
      </a:hlink>
      <a:folHlink>
        <a:srgbClr val="96607D"/>
      </a:folHlink>
    </a:clrScheme>
    <a:fontScheme name="Office">
      <a:majorFont>
        <a:latin typeface="Aptos Display" panose="0211000402020202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Aptos" panose="0211000402020202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12700" cap="flat" cmpd="sng" algn="ctr">
          <a:solidFill>
            <a:schemeClr val="phClr"/>
          </a:solidFill>
          <a:prstDash val="solid"/>
          <a:miter lim="800000"/>
        </a:ln>
        <a:ln w="19050" cap="flat" cmpd="sng" algn="ctr">
          <a:solidFill>
            <a:schemeClr val="phClr"/>
          </a:solidFill>
          <a:prstDash val="solid"/>
          <a:miter lim="800000"/>
        </a:ln>
        <a:ln w="2540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Office Theme" id="{2E142A2C-CD16-42D6-873A-C26D2A0506FA}" vid="{1BDDFF52-6CD6-40A5-AB3C-68EB2F1E4D0A}"/>
    </a:ext>
  </a:extLst>
</a:theme>
</file>

<file path=ppt/theme/themeOverride1.xml><?xml version="1.0" encoding="utf-8"?>
<a:themeOverride xmlns:a="http://schemas.openxmlformats.org/drawingml/2006/main">
  <a:clrScheme name="Biometria">
    <a:dk1>
      <a:srgbClr val="000000"/>
    </a:dk1>
    <a:lt1>
      <a:srgbClr val="FFFFFF"/>
    </a:lt1>
    <a:dk2>
      <a:srgbClr val="000000"/>
    </a:dk2>
    <a:lt2>
      <a:srgbClr val="FFFFFF"/>
    </a:lt2>
    <a:accent1>
      <a:srgbClr val="3B9637"/>
    </a:accent1>
    <a:accent2>
      <a:srgbClr val="007950"/>
    </a:accent2>
    <a:accent3>
      <a:srgbClr val="F59D24"/>
    </a:accent3>
    <a:accent4>
      <a:srgbClr val="A2C617"/>
    </a:accent4>
    <a:accent5>
      <a:srgbClr val="A0306E"/>
    </a:accent5>
    <a:accent6>
      <a:srgbClr val="DFDCD8"/>
    </a:accent6>
    <a:hlink>
      <a:srgbClr val="1F6575"/>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kument" ma:contentTypeID="0x010100986EFD50A2B7A440AA68B37EC6BC9E26" ma:contentTypeVersion="10" ma:contentTypeDescription="Skapa ett nytt dokument." ma:contentTypeScope="" ma:versionID="3fdf272cded8836629cb78eb92c0f804">
  <xsd:schema xmlns:xsd="http://www.w3.org/2001/XMLSchema" xmlns:xs="http://www.w3.org/2001/XMLSchema" xmlns:p="http://schemas.microsoft.com/office/2006/metadata/properties" xmlns:ns2="53067ed9-ce15-4ef2-822b-fc92f64565cc" xmlns:ns3="62c4940c-a88e-464a-9263-40836ef68206" targetNamespace="http://schemas.microsoft.com/office/2006/metadata/properties" ma:root="true" ma:fieldsID="f39e278e4be9c611c1eddc0977e0c2ce" ns2:_="" ns3:_="">
    <xsd:import namespace="53067ed9-ce15-4ef2-822b-fc92f64565cc"/>
    <xsd:import namespace="62c4940c-a88e-464a-9263-40836ef68206"/>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MediaServiceSearchProperties" minOccurs="0"/>
                <xsd:element ref="ns3:SharedWithUsers" minOccurs="0"/>
                <xsd:element ref="ns3:SharedWithDetails" minOccurs="0"/>
                <xsd:element ref="ns2:MediaServiceDateTaken" minOccurs="0"/>
                <xsd:element ref="ns2:MediaServiceGenerationTime" minOccurs="0"/>
                <xsd:element ref="ns2:MediaServiceEventHashCode"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53067ed9-ce15-4ef2-822b-fc92f64565cc"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MediaServiceSearchProperties" ma:index="11" nillable="true" ma:displayName="MediaServiceSearchProperties" ma:hidden="true" ma:internalName="MediaServiceSearchProperties" ma:readOnly="true">
      <xsd:simpleType>
        <xsd:restriction base="dms:Note"/>
      </xsd:simpleType>
    </xsd:element>
    <xsd:element name="MediaServiceDateTaken" ma:index="14" nillable="true" ma:displayName="MediaServiceDateTaken" ma:hidden="true" ma:indexed="true" ma:internalName="MediaServiceDateTaken" ma:readOnly="true">
      <xsd:simpleType>
        <xsd:restriction base="dms:Text"/>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2c4940c-a88e-464a-9263-40836ef68206" elementFormDefault="qualified">
    <xsd:import namespace="http://schemas.microsoft.com/office/2006/documentManagement/types"/>
    <xsd:import namespace="http://schemas.microsoft.com/office/infopath/2007/PartnerControls"/>
    <xsd:element name="SharedWithUsers" ma:index="12" nillable="true" ma:displayName="Delat med"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3" nillable="true" ma:displayName="Delat med information" ma:internalName="SharedWithDetail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Innehållstyp"/>
        <xsd:element ref="dc:title" minOccurs="0" maxOccurs="1" ma:index="4" ma:displayName="Rubrik"/>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4F2ED6E-937D-4068-9A83-6A3CB3E3109E}">
  <ds:schemaRefs>
    <ds:schemaRef ds:uri="http://schemas.microsoft.com/sharepoint/v3/contenttype/forms"/>
  </ds:schemaRefs>
</ds:datastoreItem>
</file>

<file path=customXml/itemProps2.xml><?xml version="1.0" encoding="utf-8"?>
<ds:datastoreItem xmlns:ds="http://schemas.openxmlformats.org/officeDocument/2006/customXml" ds:itemID="{E2D9A119-DBCB-462F-8544-0197D30DF5B7}">
  <ds:schemaRefs>
    <ds:schemaRef ds:uri="53067ed9-ce15-4ef2-822b-fc92f64565cc"/>
    <ds:schemaRef ds:uri="62c4940c-a88e-464a-9263-40836ef68206"/>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72FF8DFE-D6EC-49F6-9996-96218239FE54}"/>
</file>

<file path=docProps/app.xml><?xml version="1.0" encoding="utf-8"?>
<Properties xmlns="http://schemas.openxmlformats.org/officeDocument/2006/extended-properties" xmlns:vt="http://schemas.openxmlformats.org/officeDocument/2006/docPropsVTypes">
  <Application>Microsoft Office PowerPoint</Application>
  <PresentationFormat>Widescreen</PresentationFormat>
  <Slides>35</Slides>
  <Notes>8</Notes>
  <HiddenSlides>0</HiddenSlides>
  <ScaleCrop>false</ScaleCrop>
  <HeadingPairs>
    <vt:vector size="4" baseType="variant">
      <vt:variant>
        <vt:lpstr>Theme</vt:lpstr>
      </vt:variant>
      <vt:variant>
        <vt:i4>2</vt:i4>
      </vt:variant>
      <vt:variant>
        <vt:lpstr>Slide Titles</vt:lpstr>
      </vt:variant>
      <vt:variant>
        <vt:i4>35</vt:i4>
      </vt:variant>
    </vt:vector>
  </HeadingPairs>
  <TitlesOfParts>
    <vt:vector size="37" baseType="lpstr">
      <vt:lpstr>1_Office-tema</vt:lpstr>
      <vt:lpstr>2_Office-tema</vt:lpstr>
      <vt:lpstr>VÄLKOMMEN TILL BIOMETRIAS WEBBINARIUM OM AVSKOGNINGSFÖRORDNINGEN</vt:lpstr>
      <vt:lpstr>AGENDA OCH VAD SOM GÄLLER</vt:lpstr>
      <vt:lpstr>BIOMETRIA HAR SEDAN I NOVEMBER 2023 HAFT EN ARBETSGRUPP MED MÅLET ATT HITTA EN MÖJLIG TILLÄMPNING FÖR SVENSK SKOGSINDUSTRI:</vt:lpstr>
      <vt:lpstr>AVSKOGNINGSFÖRORDNINGEN HAR 8 FUNDAMENT</vt:lpstr>
      <vt:lpstr>SKOGSSTYRELSEN ÄR UTPEKAD ANSVARIG MYNDIGHET SOM MÅSTE  SVARA PÅ VAD SOM GÄLLER – BIOMETRIA HAR INTE DET ANSVARET</vt:lpstr>
      <vt:lpstr>SKOGSSTYRELSEN SOM ANSVARIG MYNDIGHET</vt:lpstr>
      <vt:lpstr>BIOMETRIA HAR BESLUTAT ATT STÖDJA INFORMATIONSSPRIDNINGS- PROCESSEN FRÅN STARTEN I DECEMBER I ÅR</vt:lpstr>
      <vt:lpstr>SÅ HÄR STÖDS INFORMATIONSSPRIDNINGSPROCESSEN</vt:lpstr>
      <vt:lpstr>HUR FÖRHÅLLER SIG INFORMATIONEN I VIRKESORDERN TILL INFORMATIONEN I MÄTNINGARNA?</vt:lpstr>
      <vt:lpstr>ARBETSGRUPPEN HAR BEDÖMT ATT DETTA ÄR ETT VETTIGT SÄTT ATT ARBETA MED RELATIONEN MELLAN ANMÄLAN TILL EU OCH VIOLS VIRKESORDER/AVTALSOBJEKT </vt:lpstr>
      <vt:lpstr>Det är den här informationen som ska hanteras</vt:lpstr>
      <vt:lpstr>Anmälan sker alltså per Harmoniserad varukod</vt:lpstr>
      <vt:lpstr>SKOGSSTYRELSEN SKA ORDNA UTBILDNINGAR I WEBBGRÄNSSNITTET I HÖST</vt:lpstr>
      <vt:lpstr>UPPGIFTER I VIRKESORDERN BLIR OBLIGATORISKT 2024-12-30</vt:lpstr>
      <vt:lpstr>FÖR VARJE MOTTAGNINGSPLATS/TERMINAL DÄR EN AKTÖR TAGIT EMOT SKOGSRÅVARA KOMMER DET ATT I VIOL GÅ ATT TA UT EN LISTA PÅ ALLA LEVERANSER OCH SAMMA INFORMATION FINNS MED I INTEGRATIONERNA UT TILL FÖRETAGENS VERKSAMHETSSYSTEM</vt:lpstr>
      <vt:lpstr>RESULTATBILD FRÅN VIOL</vt:lpstr>
      <vt:lpstr>NI SOM FÖRETAG MÅSTE GÖRA ETT VAL ATT JOBBA MANUELLT  ELLER AUTOMATISERAT VID ANMÄLNING TILL EU</vt:lpstr>
      <vt:lpstr>KRAV PÅ LAGRING AV INFORMATION</vt:lpstr>
      <vt:lpstr>FÖRÄNDRING AV BIOMETRIAS INTEGRATIONER</vt:lpstr>
      <vt:lpstr>HUR SKA MAN GÖRA MED ANMÄLAN FÖR FÄRDIGA PRODUKTER FRÅN INDUSTRIN ELLER DÅ RÅVARA BLANDATS IHOP PÅ EN TERMINAL?</vt:lpstr>
      <vt:lpstr>FÖRTYDLIGANDE  </vt:lpstr>
      <vt:lpstr>VAD KAN EN KUND NEDSTRÖMS EGENTLIGEN BEGÄRA AV ER?</vt:lpstr>
      <vt:lpstr>GUIDE – VERKSAMHETSPLANERING </vt:lpstr>
      <vt:lpstr>KONKRETA ÅTGÄRDER HOS FÖRETAGEN </vt:lpstr>
      <vt:lpstr>OBESVARADE FRÅGOR OCH OSÄKERHETER</vt:lpstr>
      <vt:lpstr>AKTUELLT LÄGE I AUGUSTI 2024</vt:lpstr>
      <vt:lpstr>VI PÅMINNER OM BIOMETRIAS ROLL I HELHETEN</vt:lpstr>
      <vt:lpstr>HÄR FÖLJER ETT ANTAL BILAGOR SOM FÖRKLARAR, DETALJERAR ELLER FÖRDJUPAR TIDIGARE BILDER FÖR DEN SOM ÄR MER VETGIRIG</vt:lpstr>
      <vt:lpstr>WIKI – FÖRKLARING AV VISSA ORD</vt:lpstr>
      <vt:lpstr>VAD ÄR EUDR?</vt:lpstr>
      <vt:lpstr>VILKEN INFORMATION HANTERAS VID ANMÄLAN TILL EU?</vt:lpstr>
      <vt:lpstr>VILKEN INFORMATION HANTERAS VID ANMÄLAN TILL EU? (forts)</vt:lpstr>
      <vt:lpstr>VERKSAMHETSUTÖVAREN SKA UTÖVER DEN INFORMATION SOM ANGES I ANMÄLAN SPARA FÖLJANDE INFORMATION I EGET SYSTEM:</vt:lpstr>
      <vt:lpstr>NÅGRA BRA LÄNKAR TILL MER INFORMATION</vt:lpstr>
      <vt:lpstr>Paus 15 mi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Utkast punkter till webbinarium</dc:title>
  <dc:creator>Oskar Cederlöf</dc:creator>
  <cp:revision>1</cp:revision>
  <dcterms:created xsi:type="dcterms:W3CDTF">2024-07-08T08:38:47Z</dcterms:created>
  <dcterms:modified xsi:type="dcterms:W3CDTF">2024-08-20T10:35:5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986EFD50A2B7A440AA68B37EC6BC9E26</vt:lpwstr>
  </property>
</Properties>
</file>